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99" r:id="rId4"/>
    <p:sldMasterId id="2147483914" r:id="rId5"/>
  </p:sldMasterIdLst>
  <p:notesMasterIdLst>
    <p:notesMasterId r:id="rId22"/>
  </p:notesMasterIdLst>
  <p:handoutMasterIdLst>
    <p:handoutMasterId r:id="rId23"/>
  </p:handoutMasterIdLst>
  <p:sldIdLst>
    <p:sldId id="1043" r:id="rId6"/>
    <p:sldId id="1044" r:id="rId7"/>
    <p:sldId id="1062" r:id="rId8"/>
    <p:sldId id="1045" r:id="rId9"/>
    <p:sldId id="1047" r:id="rId10"/>
    <p:sldId id="1048" r:id="rId11"/>
    <p:sldId id="1049" r:id="rId12"/>
    <p:sldId id="1050" r:id="rId13"/>
    <p:sldId id="1063" r:id="rId14"/>
    <p:sldId id="1064" r:id="rId15"/>
    <p:sldId id="1065" r:id="rId16"/>
    <p:sldId id="1051" r:id="rId17"/>
    <p:sldId id="1052" r:id="rId18"/>
    <p:sldId id="1053" r:id="rId19"/>
    <p:sldId id="1054" r:id="rId20"/>
    <p:sldId id="305" r:id="rId21"/>
  </p:sldIdLst>
  <p:sldSz cx="12192000" cy="6858000"/>
  <p:notesSz cx="6858000" cy="9144000"/>
  <p:embeddedFontLst>
    <p:embeddedFont>
      <p:font typeface="Ubuntu" panose="020B0504030602030204" pitchFamily="34" charset="0"/>
      <p:regular r:id="rId24"/>
      <p:bold r:id="rId25"/>
      <p:italic r:id="rId26"/>
    </p:embeddedFont>
    <p:embeddedFont>
      <p:font typeface="Ubuntu Light" panose="020B0504030602030204" pitchFamily="34" charset="0"/>
      <p:regular r:id="rId27"/>
      <p:italic r:id="rId28"/>
    </p:embeddedFont>
    <p:embeddedFont>
      <p:font typeface="Ubuntu Medium" panose="020B0504030602030204" pitchFamily="34" charset="0"/>
      <p:regular r:id="rId29"/>
    </p:embeddedFont>
    <p:embeddedFont>
      <p:font typeface="Verdana" panose="020B0604030504040204" pitchFamily="34" charset="0"/>
      <p:regular r:id="rId30"/>
      <p:bold r:id="rId31"/>
      <p:italic r:id="rId32"/>
      <p:boldItalic r:id="rId33"/>
    </p:embeddedFont>
  </p:embeddedFontLst>
  <p:custDataLst>
    <p:tags r:id="rId3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ABDB"/>
    <a:srgbClr val="214554"/>
    <a:srgbClr val="2B0A3D"/>
    <a:srgbClr val="FFB24A"/>
    <a:srgbClr val="A6001A"/>
    <a:srgbClr val="42142E"/>
    <a:srgbClr val="00E0CB"/>
    <a:srgbClr val="0F878A"/>
    <a:srgbClr val="0F434A"/>
    <a:srgbClr val="1780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55" autoAdjust="0"/>
    <p:restoredTop sz="95789" autoAdjust="0"/>
  </p:normalViewPr>
  <p:slideViewPr>
    <p:cSldViewPr>
      <p:cViewPr varScale="1">
        <p:scale>
          <a:sx n="119" d="100"/>
          <a:sy n="119" d="100"/>
        </p:scale>
        <p:origin x="184" y="344"/>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3.fntdata"/><Relationship Id="rId39" Type="http://schemas.microsoft.com/office/2016/11/relationships/changesInfo" Target="changesInfos/changesInfo1.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utika Lalla | Team Ethinos" userId="80bccb9e-2b52-4849-a9ba-69f41326eb8a" providerId="ADAL" clId="{32E23E07-6F4D-4B33-BB41-45E4BD2D57D2}"/>
    <pc:docChg chg="undo custSel modSld">
      <pc:chgData name="Krutika Lalla | Team Ethinos" userId="80bccb9e-2b52-4849-a9ba-69f41326eb8a" providerId="ADAL" clId="{32E23E07-6F4D-4B33-BB41-45E4BD2D57D2}" dt="2021-08-26T14:02:58.296" v="5" actId="1076"/>
      <pc:docMkLst>
        <pc:docMk/>
      </pc:docMkLst>
    </pc:docChg>
  </pc:docChgLst>
  <pc:docChgLst>
    <pc:chgData name="Krutika Lalla | Team Ethinos" userId="80bccb9e-2b52-4849-a9ba-69f41326eb8a" providerId="ADAL" clId="{E1ADAEFA-0819-48B3-A64F-F045271CCB02}"/>
    <pc:docChg chg="undo custSel addSld delSld modSld sldOrd">
      <pc:chgData name="Krutika Lalla | Team Ethinos" userId="80bccb9e-2b52-4849-a9ba-69f41326eb8a" providerId="ADAL" clId="{E1ADAEFA-0819-48B3-A64F-F045271CCB02}" dt="2021-08-27T05:54:48.086" v="1038" actId="1076"/>
      <pc:docMkLst>
        <pc:docMk/>
      </pc:docMkLst>
      <pc:sldChg chg="addSp delSp modSp add del mod modTransition">
        <pc:chgData name="Krutika Lalla | Team Ethinos" userId="80bccb9e-2b52-4849-a9ba-69f41326eb8a" providerId="ADAL" clId="{E1ADAEFA-0819-48B3-A64F-F045271CCB02}" dt="2021-08-27T05:54:48.086" v="1038" actId="1076"/>
        <pc:sldMkLst>
          <pc:docMk/>
          <pc:sldMk cId="967426923" sldId="1043"/>
        </pc:sldMkLst>
        <pc:spChg chg="del">
          <ac:chgData name="Krutika Lalla | Team Ethinos" userId="80bccb9e-2b52-4849-a9ba-69f41326eb8a" providerId="ADAL" clId="{E1ADAEFA-0819-48B3-A64F-F045271CCB02}" dt="2021-08-26T14:42:11.648" v="939" actId="478"/>
          <ac:spMkLst>
            <pc:docMk/>
            <pc:sldMk cId="967426923" sldId="1043"/>
            <ac:spMk id="2" creationId="{F1DFDA52-C0F0-45D2-A8E6-81F969C00184}"/>
          </ac:spMkLst>
        </pc:spChg>
        <pc:spChg chg="del">
          <ac:chgData name="Krutika Lalla | Team Ethinos" userId="80bccb9e-2b52-4849-a9ba-69f41326eb8a" providerId="ADAL" clId="{E1ADAEFA-0819-48B3-A64F-F045271CCB02}" dt="2021-08-26T14:42:11.648" v="939" actId="478"/>
          <ac:spMkLst>
            <pc:docMk/>
            <pc:sldMk cId="967426923" sldId="1043"/>
            <ac:spMk id="3" creationId="{C848BA6D-2927-44B8-ACA6-7A2F73E5B792}"/>
          </ac:spMkLst>
        </pc:spChg>
        <pc:spChg chg="del">
          <ac:chgData name="Krutika Lalla | Team Ethinos" userId="80bccb9e-2b52-4849-a9ba-69f41326eb8a" providerId="ADAL" clId="{E1ADAEFA-0819-48B3-A64F-F045271CCB02}" dt="2021-08-26T14:42:51.523" v="952" actId="478"/>
          <ac:spMkLst>
            <pc:docMk/>
            <pc:sldMk cId="967426923" sldId="1043"/>
            <ac:spMk id="5" creationId="{360458FB-76B6-4743-A12A-A42645182007}"/>
          </ac:spMkLst>
        </pc:spChg>
        <pc:spChg chg="add del mod">
          <ac:chgData name="Krutika Lalla | Team Ethinos" userId="80bccb9e-2b52-4849-a9ba-69f41326eb8a" providerId="ADAL" clId="{E1ADAEFA-0819-48B3-A64F-F045271CCB02}" dt="2021-08-26T14:42:15.092" v="940" actId="478"/>
          <ac:spMkLst>
            <pc:docMk/>
            <pc:sldMk cId="967426923" sldId="1043"/>
            <ac:spMk id="7" creationId="{04397363-55C2-4A44-B3DA-B8EED3DCBC03}"/>
          </ac:spMkLst>
        </pc:spChg>
        <pc:spChg chg="add del mod">
          <ac:chgData name="Krutika Lalla | Team Ethinos" userId="80bccb9e-2b52-4849-a9ba-69f41326eb8a" providerId="ADAL" clId="{E1ADAEFA-0819-48B3-A64F-F045271CCB02}" dt="2021-08-26T14:42:16.987" v="941" actId="478"/>
          <ac:spMkLst>
            <pc:docMk/>
            <pc:sldMk cId="967426923" sldId="1043"/>
            <ac:spMk id="10" creationId="{F8859FE9-5E2B-46F5-B2D0-8DF877EEBDA5}"/>
          </ac:spMkLst>
        </pc:spChg>
        <pc:spChg chg="add mod">
          <ac:chgData name="Krutika Lalla | Team Ethinos" userId="80bccb9e-2b52-4849-a9ba-69f41326eb8a" providerId="ADAL" clId="{E1ADAEFA-0819-48B3-A64F-F045271CCB02}" dt="2021-08-27T05:31:12.296" v="991" actId="1076"/>
          <ac:spMkLst>
            <pc:docMk/>
            <pc:sldMk cId="967426923" sldId="1043"/>
            <ac:spMk id="13" creationId="{090C35E7-7604-4DB3-AF93-CF918B34D0E8}"/>
          </ac:spMkLst>
        </pc:spChg>
        <pc:spChg chg="add del mod">
          <ac:chgData name="Krutika Lalla | Team Ethinos" userId="80bccb9e-2b52-4849-a9ba-69f41326eb8a" providerId="ADAL" clId="{E1ADAEFA-0819-48B3-A64F-F045271CCB02}" dt="2021-08-27T05:31:16.174" v="992" actId="478"/>
          <ac:spMkLst>
            <pc:docMk/>
            <pc:sldMk cId="967426923" sldId="1043"/>
            <ac:spMk id="14" creationId="{4E9029E0-B741-4558-AFB4-C4BA2CC3A42D}"/>
          </ac:spMkLst>
        </pc:spChg>
        <pc:spChg chg="add mod">
          <ac:chgData name="Krutika Lalla | Team Ethinos" userId="80bccb9e-2b52-4849-a9ba-69f41326eb8a" providerId="ADAL" clId="{E1ADAEFA-0819-48B3-A64F-F045271CCB02}" dt="2021-08-27T05:54:48.086" v="1038" actId="1076"/>
          <ac:spMkLst>
            <pc:docMk/>
            <pc:sldMk cId="967426923" sldId="1043"/>
            <ac:spMk id="15" creationId="{7A872644-7283-4789-9928-A28129C60119}"/>
          </ac:spMkLst>
        </pc:spChg>
        <pc:picChg chg="add mod modCrop">
          <ac:chgData name="Krutika Lalla | Team Ethinos" userId="80bccb9e-2b52-4849-a9ba-69f41326eb8a" providerId="ADAL" clId="{E1ADAEFA-0819-48B3-A64F-F045271CCB02}" dt="2021-08-27T05:53:58.218" v="1030" actId="1036"/>
          <ac:picMkLst>
            <pc:docMk/>
            <pc:sldMk cId="967426923" sldId="1043"/>
            <ac:picMk id="3" creationId="{0DF5EDD2-8A4C-4BE9-9EF1-E40F21DD1F26}"/>
          </ac:picMkLst>
        </pc:picChg>
        <pc:picChg chg="del">
          <ac:chgData name="Krutika Lalla | Team Ethinos" userId="80bccb9e-2b52-4849-a9ba-69f41326eb8a" providerId="ADAL" clId="{E1ADAEFA-0819-48B3-A64F-F045271CCB02}" dt="2021-08-26T14:42:06.568" v="937" actId="478"/>
          <ac:picMkLst>
            <pc:docMk/>
            <pc:sldMk cId="967426923" sldId="1043"/>
            <ac:picMk id="6" creationId="{99153B58-EB45-4BF1-A749-168956255402}"/>
          </ac:picMkLst>
        </pc:picChg>
        <pc:picChg chg="add mod">
          <ac:chgData name="Krutika Lalla | Team Ethinos" userId="80bccb9e-2b52-4849-a9ba-69f41326eb8a" providerId="ADAL" clId="{E1ADAEFA-0819-48B3-A64F-F045271CCB02}" dt="2021-08-27T05:31:07.610" v="990" actId="1076"/>
          <ac:picMkLst>
            <pc:docMk/>
            <pc:sldMk cId="967426923" sldId="1043"/>
            <ac:picMk id="8" creationId="{9C80EF16-298F-422F-8D6C-1BB137BA19C3}"/>
          </ac:picMkLst>
        </pc:picChg>
        <pc:picChg chg="mod ord">
          <ac:chgData name="Krutika Lalla | Team Ethinos" userId="80bccb9e-2b52-4849-a9ba-69f41326eb8a" providerId="ADAL" clId="{E1ADAEFA-0819-48B3-A64F-F045271CCB02}" dt="2021-08-27T05:54:36.479" v="1037" actId="1076"/>
          <ac:picMkLst>
            <pc:docMk/>
            <pc:sldMk cId="967426923" sldId="1043"/>
            <ac:picMk id="9" creationId="{2E25FA84-EA4A-46B7-AE66-6504E234B558}"/>
          </ac:picMkLst>
        </pc:picChg>
        <pc:picChg chg="add del mod">
          <ac:chgData name="Krutika Lalla | Team Ethinos" userId="80bccb9e-2b52-4849-a9ba-69f41326eb8a" providerId="ADAL" clId="{E1ADAEFA-0819-48B3-A64F-F045271CCB02}" dt="2021-08-27T05:53:22.679" v="1014" actId="478"/>
          <ac:picMkLst>
            <pc:docMk/>
            <pc:sldMk cId="967426923" sldId="1043"/>
            <ac:picMk id="12" creationId="{516E2A87-A032-46F6-B01F-9575448018A2}"/>
          </ac:picMkLst>
        </pc:picChg>
        <pc:picChg chg="add mod ord modCrop">
          <ac:chgData name="Krutika Lalla | Team Ethinos" userId="80bccb9e-2b52-4849-a9ba-69f41326eb8a" providerId="ADAL" clId="{E1ADAEFA-0819-48B3-A64F-F045271CCB02}" dt="2021-08-27T05:54:16.231" v="1034" actId="1076"/>
          <ac:picMkLst>
            <pc:docMk/>
            <pc:sldMk cId="967426923" sldId="1043"/>
            <ac:picMk id="16" creationId="{02D33A4D-19B0-49FF-A195-B570C159F5FD}"/>
          </ac:picMkLst>
        </pc:picChg>
        <pc:picChg chg="del">
          <ac:chgData name="Krutika Lalla | Team Ethinos" userId="80bccb9e-2b52-4849-a9ba-69f41326eb8a" providerId="ADAL" clId="{E1ADAEFA-0819-48B3-A64F-F045271CCB02}" dt="2021-08-26T14:42:08.191" v="938" actId="478"/>
          <ac:picMkLst>
            <pc:docMk/>
            <pc:sldMk cId="967426923" sldId="1043"/>
            <ac:picMk id="19" creationId="{B412D6CD-DC92-4164-AEA0-FFF35B2B163D}"/>
          </ac:picMkLst>
        </pc:picChg>
      </pc:sldChg>
      <pc:sldChg chg="addSp delSp modSp new mod ord modTransition">
        <pc:chgData name="Krutika Lalla | Team Ethinos" userId="80bccb9e-2b52-4849-a9ba-69f41326eb8a" providerId="ADAL" clId="{E1ADAEFA-0819-48B3-A64F-F045271CCB02}" dt="2021-08-26T14:54:31.915" v="981"/>
        <pc:sldMkLst>
          <pc:docMk/>
          <pc:sldMk cId="2786593419" sldId="1044"/>
        </pc:sldMkLst>
        <pc:spChg chg="add mod">
          <ac:chgData name="Krutika Lalla | Team Ethinos" userId="80bccb9e-2b52-4849-a9ba-69f41326eb8a" providerId="ADAL" clId="{E1ADAEFA-0819-48B3-A64F-F045271CCB02}" dt="2021-08-26T14:09:06.337" v="29" actId="1076"/>
          <ac:spMkLst>
            <pc:docMk/>
            <pc:sldMk cId="2786593419" sldId="1044"/>
            <ac:spMk id="3" creationId="{4FF712A1-D545-464C-AABC-CBEA9BB681E4}"/>
          </ac:spMkLst>
        </pc:spChg>
        <pc:spChg chg="add mod">
          <ac:chgData name="Krutika Lalla | Team Ethinos" userId="80bccb9e-2b52-4849-a9ba-69f41326eb8a" providerId="ADAL" clId="{E1ADAEFA-0819-48B3-A64F-F045271CCB02}" dt="2021-08-26T14:09:06.337" v="29" actId="1076"/>
          <ac:spMkLst>
            <pc:docMk/>
            <pc:sldMk cId="2786593419" sldId="1044"/>
            <ac:spMk id="4" creationId="{98327A7C-DFAD-4387-B95D-180FF5E3C54F}"/>
          </ac:spMkLst>
        </pc:spChg>
        <pc:spChg chg="add del mod">
          <ac:chgData name="Krutika Lalla | Team Ethinos" userId="80bccb9e-2b52-4849-a9ba-69f41326eb8a" providerId="ADAL" clId="{E1ADAEFA-0819-48B3-A64F-F045271CCB02}" dt="2021-08-26T14:09:23.657" v="34" actId="478"/>
          <ac:spMkLst>
            <pc:docMk/>
            <pc:sldMk cId="2786593419" sldId="1044"/>
            <ac:spMk id="6" creationId="{240AE04D-A81D-4DB8-991A-DE2808BB6034}"/>
          </ac:spMkLst>
        </pc:spChg>
        <pc:spChg chg="add mod">
          <ac:chgData name="Krutika Lalla | Team Ethinos" userId="80bccb9e-2b52-4849-a9ba-69f41326eb8a" providerId="ADAL" clId="{E1ADAEFA-0819-48B3-A64F-F045271CCB02}" dt="2021-08-26T14:10:08.765" v="55" actId="1035"/>
          <ac:spMkLst>
            <pc:docMk/>
            <pc:sldMk cId="2786593419" sldId="1044"/>
            <ac:spMk id="8" creationId="{11E92B50-41BE-4319-8505-719F31354485}"/>
          </ac:spMkLst>
        </pc:spChg>
        <pc:picChg chg="add del mod">
          <ac:chgData name="Krutika Lalla | Team Ethinos" userId="80bccb9e-2b52-4849-a9ba-69f41326eb8a" providerId="ADAL" clId="{E1ADAEFA-0819-48B3-A64F-F045271CCB02}" dt="2021-08-26T14:20:29.800" v="401" actId="21"/>
          <ac:picMkLst>
            <pc:docMk/>
            <pc:sldMk cId="2786593419" sldId="1044"/>
            <ac:picMk id="2" creationId="{07A1C1FA-E3B3-4675-A6F5-16747606F24E}"/>
          </ac:picMkLst>
        </pc:picChg>
        <pc:picChg chg="add mod">
          <ac:chgData name="Krutika Lalla | Team Ethinos" userId="80bccb9e-2b52-4849-a9ba-69f41326eb8a" providerId="ADAL" clId="{E1ADAEFA-0819-48B3-A64F-F045271CCB02}" dt="2021-08-26T14:10:47.314" v="62" actId="1036"/>
          <ac:picMkLst>
            <pc:docMk/>
            <pc:sldMk cId="2786593419" sldId="1044"/>
            <ac:picMk id="5" creationId="{E9DE047A-3DD1-4F8F-B0AE-B500E8B3BBEA}"/>
          </ac:picMkLst>
        </pc:picChg>
        <pc:picChg chg="add mod">
          <ac:chgData name="Krutika Lalla | Team Ethinos" userId="80bccb9e-2b52-4849-a9ba-69f41326eb8a" providerId="ADAL" clId="{E1ADAEFA-0819-48B3-A64F-F045271CCB02}" dt="2021-08-26T14:08:44.150" v="24" actId="1076"/>
          <ac:picMkLst>
            <pc:docMk/>
            <pc:sldMk cId="2786593419" sldId="1044"/>
            <ac:picMk id="7" creationId="{DBFEA8AA-5046-40E0-93B6-AB12BB86DE9D}"/>
          </ac:picMkLst>
        </pc:picChg>
      </pc:sldChg>
      <pc:sldChg chg="addSp delSp modSp new mod">
        <pc:chgData name="Krutika Lalla | Team Ethinos" userId="80bccb9e-2b52-4849-a9ba-69f41326eb8a" providerId="ADAL" clId="{E1ADAEFA-0819-48B3-A64F-F045271CCB02}" dt="2021-08-26T14:50:19.542" v="977" actId="20577"/>
        <pc:sldMkLst>
          <pc:docMk/>
          <pc:sldMk cId="2046948316" sldId="1045"/>
        </pc:sldMkLst>
        <pc:spChg chg="mod">
          <ac:chgData name="Krutika Lalla | Team Ethinos" userId="80bccb9e-2b52-4849-a9ba-69f41326eb8a" providerId="ADAL" clId="{E1ADAEFA-0819-48B3-A64F-F045271CCB02}" dt="2021-08-26T14:50:19.542" v="977" actId="20577"/>
          <ac:spMkLst>
            <pc:docMk/>
            <pc:sldMk cId="2046948316" sldId="1045"/>
            <ac:spMk id="2" creationId="{4B8E5B7E-7F54-4910-AFA6-FE9823ACC576}"/>
          </ac:spMkLst>
        </pc:spChg>
        <pc:spChg chg="mod">
          <ac:chgData name="Krutika Lalla | Team Ethinos" userId="80bccb9e-2b52-4849-a9ba-69f41326eb8a" providerId="ADAL" clId="{E1ADAEFA-0819-48B3-A64F-F045271CCB02}" dt="2021-08-26T14:14:01.044" v="191" actId="1076"/>
          <ac:spMkLst>
            <pc:docMk/>
            <pc:sldMk cId="2046948316" sldId="1045"/>
            <ac:spMk id="3" creationId="{63B77C5A-232F-4205-80F0-F40F3DF43527}"/>
          </ac:spMkLst>
        </pc:spChg>
        <pc:picChg chg="add del mod">
          <ac:chgData name="Krutika Lalla | Team Ethinos" userId="80bccb9e-2b52-4849-a9ba-69f41326eb8a" providerId="ADAL" clId="{E1ADAEFA-0819-48B3-A64F-F045271CCB02}" dt="2021-08-26T14:20:49.462" v="405" actId="478"/>
          <ac:picMkLst>
            <pc:docMk/>
            <pc:sldMk cId="2046948316" sldId="1045"/>
            <ac:picMk id="4" creationId="{80F59E52-65CB-4F14-9CE0-CBC9BDEF8C46}"/>
          </ac:picMkLst>
        </pc:picChg>
      </pc:sldChg>
      <pc:sldChg chg="modSp new mod">
        <pc:chgData name="Krutika Lalla | Team Ethinos" userId="80bccb9e-2b52-4849-a9ba-69f41326eb8a" providerId="ADAL" clId="{E1ADAEFA-0819-48B3-A64F-F045271CCB02}" dt="2021-08-26T14:18:59.304" v="385" actId="20577"/>
        <pc:sldMkLst>
          <pc:docMk/>
          <pc:sldMk cId="631897620" sldId="1047"/>
        </pc:sldMkLst>
        <pc:spChg chg="mod">
          <ac:chgData name="Krutika Lalla | Team Ethinos" userId="80bccb9e-2b52-4849-a9ba-69f41326eb8a" providerId="ADAL" clId="{E1ADAEFA-0819-48B3-A64F-F045271CCB02}" dt="2021-08-26T14:18:59.304" v="385" actId="20577"/>
          <ac:spMkLst>
            <pc:docMk/>
            <pc:sldMk cId="631897620" sldId="1047"/>
            <ac:spMk id="2" creationId="{4E14F937-ED13-41DD-B96D-5986F42A4A68}"/>
          </ac:spMkLst>
        </pc:spChg>
        <pc:spChg chg="mod">
          <ac:chgData name="Krutika Lalla | Team Ethinos" userId="80bccb9e-2b52-4849-a9ba-69f41326eb8a" providerId="ADAL" clId="{E1ADAEFA-0819-48B3-A64F-F045271CCB02}" dt="2021-08-26T14:18:55.751" v="384" actId="403"/>
          <ac:spMkLst>
            <pc:docMk/>
            <pc:sldMk cId="631897620" sldId="1047"/>
            <ac:spMk id="3" creationId="{0DC4DCA7-98E9-4955-85A5-AF4A9C228593}"/>
          </ac:spMkLst>
        </pc:spChg>
      </pc:sldChg>
      <pc:sldChg chg="modSp add mod">
        <pc:chgData name="Krutika Lalla | Team Ethinos" userId="80bccb9e-2b52-4849-a9ba-69f41326eb8a" providerId="ADAL" clId="{E1ADAEFA-0819-48B3-A64F-F045271CCB02}" dt="2021-08-26T14:21:57.514" v="476" actId="20577"/>
        <pc:sldMkLst>
          <pc:docMk/>
          <pc:sldMk cId="3293080311" sldId="1048"/>
        </pc:sldMkLst>
        <pc:spChg chg="mod">
          <ac:chgData name="Krutika Lalla | Team Ethinos" userId="80bccb9e-2b52-4849-a9ba-69f41326eb8a" providerId="ADAL" clId="{E1ADAEFA-0819-48B3-A64F-F045271CCB02}" dt="2021-08-26T14:21:57.514" v="476" actId="20577"/>
          <ac:spMkLst>
            <pc:docMk/>
            <pc:sldMk cId="3293080311" sldId="1048"/>
            <ac:spMk id="2" creationId="{4E14F937-ED13-41DD-B96D-5986F42A4A68}"/>
          </ac:spMkLst>
        </pc:spChg>
        <pc:spChg chg="mod">
          <ac:chgData name="Krutika Lalla | Team Ethinos" userId="80bccb9e-2b52-4849-a9ba-69f41326eb8a" providerId="ADAL" clId="{E1ADAEFA-0819-48B3-A64F-F045271CCB02}" dt="2021-08-26T14:21:44.505" v="431" actId="20577"/>
          <ac:spMkLst>
            <pc:docMk/>
            <pc:sldMk cId="3293080311" sldId="1048"/>
            <ac:spMk id="3" creationId="{0DC4DCA7-98E9-4955-85A5-AF4A9C228593}"/>
          </ac:spMkLst>
        </pc:spChg>
      </pc:sldChg>
      <pc:sldChg chg="modSp add mod">
        <pc:chgData name="Krutika Lalla | Team Ethinos" userId="80bccb9e-2b52-4849-a9ba-69f41326eb8a" providerId="ADAL" clId="{E1ADAEFA-0819-48B3-A64F-F045271CCB02}" dt="2021-08-26T14:23:26.468" v="559" actId="20577"/>
        <pc:sldMkLst>
          <pc:docMk/>
          <pc:sldMk cId="2325269538" sldId="1049"/>
        </pc:sldMkLst>
        <pc:spChg chg="mod">
          <ac:chgData name="Krutika Lalla | Team Ethinos" userId="80bccb9e-2b52-4849-a9ba-69f41326eb8a" providerId="ADAL" clId="{E1ADAEFA-0819-48B3-A64F-F045271CCB02}" dt="2021-08-26T14:23:26.468" v="559" actId="20577"/>
          <ac:spMkLst>
            <pc:docMk/>
            <pc:sldMk cId="2325269538" sldId="1049"/>
            <ac:spMk id="2" creationId="{4E14F937-ED13-41DD-B96D-5986F42A4A68}"/>
          </ac:spMkLst>
        </pc:spChg>
        <pc:spChg chg="mod">
          <ac:chgData name="Krutika Lalla | Team Ethinos" userId="80bccb9e-2b52-4849-a9ba-69f41326eb8a" providerId="ADAL" clId="{E1ADAEFA-0819-48B3-A64F-F045271CCB02}" dt="2021-08-26T14:22:43.518" v="506" actId="20577"/>
          <ac:spMkLst>
            <pc:docMk/>
            <pc:sldMk cId="2325269538" sldId="1049"/>
            <ac:spMk id="3" creationId="{0DC4DCA7-98E9-4955-85A5-AF4A9C228593}"/>
          </ac:spMkLst>
        </pc:spChg>
      </pc:sldChg>
      <pc:sldChg chg="modSp add mod">
        <pc:chgData name="Krutika Lalla | Team Ethinos" userId="80bccb9e-2b52-4849-a9ba-69f41326eb8a" providerId="ADAL" clId="{E1ADAEFA-0819-48B3-A64F-F045271CCB02}" dt="2021-08-26T14:24:15.350" v="604" actId="404"/>
        <pc:sldMkLst>
          <pc:docMk/>
          <pc:sldMk cId="554408239" sldId="1050"/>
        </pc:sldMkLst>
        <pc:spChg chg="mod">
          <ac:chgData name="Krutika Lalla | Team Ethinos" userId="80bccb9e-2b52-4849-a9ba-69f41326eb8a" providerId="ADAL" clId="{E1ADAEFA-0819-48B3-A64F-F045271CCB02}" dt="2021-08-26T14:24:10.154" v="603"/>
          <ac:spMkLst>
            <pc:docMk/>
            <pc:sldMk cId="554408239" sldId="1050"/>
            <ac:spMk id="2" creationId="{4E14F937-ED13-41DD-B96D-5986F42A4A68}"/>
          </ac:spMkLst>
        </pc:spChg>
        <pc:spChg chg="mod">
          <ac:chgData name="Krutika Lalla | Team Ethinos" userId="80bccb9e-2b52-4849-a9ba-69f41326eb8a" providerId="ADAL" clId="{E1ADAEFA-0819-48B3-A64F-F045271CCB02}" dt="2021-08-26T14:24:15.350" v="604" actId="404"/>
          <ac:spMkLst>
            <pc:docMk/>
            <pc:sldMk cId="554408239" sldId="1050"/>
            <ac:spMk id="3" creationId="{0DC4DCA7-98E9-4955-85A5-AF4A9C228593}"/>
          </ac:spMkLst>
        </pc:spChg>
      </pc:sldChg>
      <pc:sldChg chg="modSp add mod">
        <pc:chgData name="Krutika Lalla | Team Ethinos" userId="80bccb9e-2b52-4849-a9ba-69f41326eb8a" providerId="ADAL" clId="{E1ADAEFA-0819-48B3-A64F-F045271CCB02}" dt="2021-08-26T14:32:15.406" v="859" actId="404"/>
        <pc:sldMkLst>
          <pc:docMk/>
          <pc:sldMk cId="2086689284" sldId="1051"/>
        </pc:sldMkLst>
        <pc:spChg chg="mod">
          <ac:chgData name="Krutika Lalla | Team Ethinos" userId="80bccb9e-2b52-4849-a9ba-69f41326eb8a" providerId="ADAL" clId="{E1ADAEFA-0819-48B3-A64F-F045271CCB02}" dt="2021-08-26T14:24:53.387" v="657" actId="20577"/>
          <ac:spMkLst>
            <pc:docMk/>
            <pc:sldMk cId="2086689284" sldId="1051"/>
            <ac:spMk id="2" creationId="{4E14F937-ED13-41DD-B96D-5986F42A4A68}"/>
          </ac:spMkLst>
        </pc:spChg>
        <pc:spChg chg="mod">
          <ac:chgData name="Krutika Lalla | Team Ethinos" userId="80bccb9e-2b52-4849-a9ba-69f41326eb8a" providerId="ADAL" clId="{E1ADAEFA-0819-48B3-A64F-F045271CCB02}" dt="2021-08-26T14:32:15.406" v="859" actId="404"/>
          <ac:spMkLst>
            <pc:docMk/>
            <pc:sldMk cId="2086689284" sldId="1051"/>
            <ac:spMk id="3" creationId="{0DC4DCA7-98E9-4955-85A5-AF4A9C228593}"/>
          </ac:spMkLst>
        </pc:spChg>
      </pc:sldChg>
      <pc:sldChg chg="addSp delSp modSp add mod modTransition">
        <pc:chgData name="Krutika Lalla | Team Ethinos" userId="80bccb9e-2b52-4849-a9ba-69f41326eb8a" providerId="ADAL" clId="{E1ADAEFA-0819-48B3-A64F-F045271CCB02}" dt="2021-08-26T14:55:14.601" v="982"/>
        <pc:sldMkLst>
          <pc:docMk/>
          <pc:sldMk cId="2439013261" sldId="1052"/>
        </pc:sldMkLst>
        <pc:spChg chg="del">
          <ac:chgData name="Krutika Lalla | Team Ethinos" userId="80bccb9e-2b52-4849-a9ba-69f41326eb8a" providerId="ADAL" clId="{E1ADAEFA-0819-48B3-A64F-F045271CCB02}" dt="2021-08-26T14:25:27.368" v="690" actId="478"/>
          <ac:spMkLst>
            <pc:docMk/>
            <pc:sldMk cId="2439013261" sldId="1052"/>
            <ac:spMk id="2" creationId="{739767F7-6B07-4479-BE5A-F4D3EB29BE98}"/>
          </ac:spMkLst>
        </pc:spChg>
        <pc:spChg chg="mod">
          <ac:chgData name="Krutika Lalla | Team Ethinos" userId="80bccb9e-2b52-4849-a9ba-69f41326eb8a" providerId="ADAL" clId="{E1ADAEFA-0819-48B3-A64F-F045271CCB02}" dt="2021-08-26T14:31:44.434" v="852" actId="1076"/>
          <ac:spMkLst>
            <pc:docMk/>
            <pc:sldMk cId="2439013261" sldId="1052"/>
            <ac:spMk id="3" creationId="{C074AEA3-7FD8-4EAF-9E6D-FB8F2DBE2081}"/>
          </ac:spMkLst>
        </pc:spChg>
        <pc:spChg chg="add del mod">
          <ac:chgData name="Krutika Lalla | Team Ethinos" userId="80bccb9e-2b52-4849-a9ba-69f41326eb8a" providerId="ADAL" clId="{E1ADAEFA-0819-48B3-A64F-F045271CCB02}" dt="2021-08-26T14:25:28.945" v="691" actId="478"/>
          <ac:spMkLst>
            <pc:docMk/>
            <pc:sldMk cId="2439013261" sldId="1052"/>
            <ac:spMk id="6" creationId="{BDF0C1E2-AE11-4082-B202-A747214BA65A}"/>
          </ac:spMkLst>
        </pc:spChg>
        <pc:picChg chg="add del mod">
          <ac:chgData name="Krutika Lalla | Team Ethinos" userId="80bccb9e-2b52-4849-a9ba-69f41326eb8a" providerId="ADAL" clId="{E1ADAEFA-0819-48B3-A64F-F045271CCB02}" dt="2021-08-26T14:35:06.561" v="872" actId="478"/>
          <ac:picMkLst>
            <pc:docMk/>
            <pc:sldMk cId="2439013261" sldId="1052"/>
            <ac:picMk id="7" creationId="{9C20E92D-EADD-4737-8843-655AF61FE911}"/>
          </ac:picMkLst>
        </pc:picChg>
      </pc:sldChg>
      <pc:sldChg chg="addSp delSp modSp add mod">
        <pc:chgData name="Krutika Lalla | Team Ethinos" userId="80bccb9e-2b52-4849-a9ba-69f41326eb8a" providerId="ADAL" clId="{E1ADAEFA-0819-48B3-A64F-F045271CCB02}" dt="2021-08-26T14:29:03.157" v="810" actId="208"/>
        <pc:sldMkLst>
          <pc:docMk/>
          <pc:sldMk cId="2092972366" sldId="1053"/>
        </pc:sldMkLst>
        <pc:spChg chg="del">
          <ac:chgData name="Krutika Lalla | Team Ethinos" userId="80bccb9e-2b52-4849-a9ba-69f41326eb8a" providerId="ADAL" clId="{E1ADAEFA-0819-48B3-A64F-F045271CCB02}" dt="2021-08-26T14:25:50.621" v="716" actId="478"/>
          <ac:spMkLst>
            <pc:docMk/>
            <pc:sldMk cId="2092972366" sldId="1053"/>
            <ac:spMk id="2" creationId="{4E14F937-ED13-41DD-B96D-5986F42A4A68}"/>
          </ac:spMkLst>
        </pc:spChg>
        <pc:spChg chg="mod">
          <ac:chgData name="Krutika Lalla | Team Ethinos" userId="80bccb9e-2b52-4849-a9ba-69f41326eb8a" providerId="ADAL" clId="{E1ADAEFA-0819-48B3-A64F-F045271CCB02}" dt="2021-08-26T14:25:43.447" v="715" actId="20577"/>
          <ac:spMkLst>
            <pc:docMk/>
            <pc:sldMk cId="2092972366" sldId="1053"/>
            <ac:spMk id="3" creationId="{0DC4DCA7-98E9-4955-85A5-AF4A9C228593}"/>
          </ac:spMkLst>
        </pc:spChg>
        <pc:spChg chg="add del mod">
          <ac:chgData name="Krutika Lalla | Team Ethinos" userId="80bccb9e-2b52-4849-a9ba-69f41326eb8a" providerId="ADAL" clId="{E1ADAEFA-0819-48B3-A64F-F045271CCB02}" dt="2021-08-26T14:25:58.211" v="717" actId="478"/>
          <ac:spMkLst>
            <pc:docMk/>
            <pc:sldMk cId="2092972366" sldId="1053"/>
            <ac:spMk id="5" creationId="{49879AD7-D7B3-44BE-9975-3A8D456BE471}"/>
          </ac:spMkLst>
        </pc:spChg>
        <pc:spChg chg="add mod">
          <ac:chgData name="Krutika Lalla | Team Ethinos" userId="80bccb9e-2b52-4849-a9ba-69f41326eb8a" providerId="ADAL" clId="{E1ADAEFA-0819-48B3-A64F-F045271CCB02}" dt="2021-08-26T14:28:03.263" v="792" actId="404"/>
          <ac:spMkLst>
            <pc:docMk/>
            <pc:sldMk cId="2092972366" sldId="1053"/>
            <ac:spMk id="6" creationId="{22F0DCBB-D56A-4476-9951-2EEDD15A660F}"/>
          </ac:spMkLst>
        </pc:spChg>
        <pc:spChg chg="add mod">
          <ac:chgData name="Krutika Lalla | Team Ethinos" userId="80bccb9e-2b52-4849-a9ba-69f41326eb8a" providerId="ADAL" clId="{E1ADAEFA-0819-48B3-A64F-F045271CCB02}" dt="2021-08-26T14:28:39.796" v="808" actId="403"/>
          <ac:spMkLst>
            <pc:docMk/>
            <pc:sldMk cId="2092972366" sldId="1053"/>
            <ac:spMk id="7" creationId="{92BFFD0E-0DBF-4DBB-9C91-78CDB77C4B92}"/>
          </ac:spMkLst>
        </pc:spChg>
        <pc:spChg chg="add mod">
          <ac:chgData name="Krutika Lalla | Team Ethinos" userId="80bccb9e-2b52-4849-a9ba-69f41326eb8a" providerId="ADAL" clId="{E1ADAEFA-0819-48B3-A64F-F045271CCB02}" dt="2021-08-26T14:28:34.976" v="805" actId="403"/>
          <ac:spMkLst>
            <pc:docMk/>
            <pc:sldMk cId="2092972366" sldId="1053"/>
            <ac:spMk id="8" creationId="{FAFB3BB0-69E4-4038-BC83-D4BA0008F123}"/>
          </ac:spMkLst>
        </pc:spChg>
        <pc:spChg chg="add mod">
          <ac:chgData name="Krutika Lalla | Team Ethinos" userId="80bccb9e-2b52-4849-a9ba-69f41326eb8a" providerId="ADAL" clId="{E1ADAEFA-0819-48B3-A64F-F045271CCB02}" dt="2021-08-26T14:29:03.157" v="810" actId="208"/>
          <ac:spMkLst>
            <pc:docMk/>
            <pc:sldMk cId="2092972366" sldId="1053"/>
            <ac:spMk id="9" creationId="{0E474FC3-1A0F-413F-83AE-08A289D380C3}"/>
          </ac:spMkLst>
        </pc:spChg>
        <pc:spChg chg="add mod">
          <ac:chgData name="Krutika Lalla | Team Ethinos" userId="80bccb9e-2b52-4849-a9ba-69f41326eb8a" providerId="ADAL" clId="{E1ADAEFA-0819-48B3-A64F-F045271CCB02}" dt="2021-08-26T14:27:18.034" v="764" actId="1076"/>
          <ac:spMkLst>
            <pc:docMk/>
            <pc:sldMk cId="2092972366" sldId="1053"/>
            <ac:spMk id="10" creationId="{59462FB5-BA2F-4299-8302-F03555015524}"/>
          </ac:spMkLst>
        </pc:spChg>
        <pc:spChg chg="add mod">
          <ac:chgData name="Krutika Lalla | Team Ethinos" userId="80bccb9e-2b52-4849-a9ba-69f41326eb8a" providerId="ADAL" clId="{E1ADAEFA-0819-48B3-A64F-F045271CCB02}" dt="2021-08-26T14:27:22.824" v="766" actId="1076"/>
          <ac:spMkLst>
            <pc:docMk/>
            <pc:sldMk cId="2092972366" sldId="1053"/>
            <ac:spMk id="11" creationId="{9246F55E-3F15-40E6-9933-B6C68893D142}"/>
          </ac:spMkLst>
        </pc:spChg>
        <pc:spChg chg="add mod">
          <ac:chgData name="Krutika Lalla | Team Ethinos" userId="80bccb9e-2b52-4849-a9ba-69f41326eb8a" providerId="ADAL" clId="{E1ADAEFA-0819-48B3-A64F-F045271CCB02}" dt="2021-08-26T14:27:46.488" v="784" actId="14100"/>
          <ac:spMkLst>
            <pc:docMk/>
            <pc:sldMk cId="2092972366" sldId="1053"/>
            <ac:spMk id="12" creationId="{9043D54F-FED8-4EDC-9008-C7EE85562640}"/>
          </ac:spMkLst>
        </pc:spChg>
        <pc:spChg chg="add mod">
          <ac:chgData name="Krutika Lalla | Team Ethinos" userId="80bccb9e-2b52-4849-a9ba-69f41326eb8a" providerId="ADAL" clId="{E1ADAEFA-0819-48B3-A64F-F045271CCB02}" dt="2021-08-26T14:27:53.446" v="786" actId="14100"/>
          <ac:spMkLst>
            <pc:docMk/>
            <pc:sldMk cId="2092972366" sldId="1053"/>
            <ac:spMk id="13" creationId="{8E44D3B4-39C3-4140-8ECA-F9E0B18EB909}"/>
          </ac:spMkLst>
        </pc:spChg>
      </pc:sldChg>
      <pc:sldChg chg="addSp modSp new mod modTransition">
        <pc:chgData name="Krutika Lalla | Team Ethinos" userId="80bccb9e-2b52-4849-a9ba-69f41326eb8a" providerId="ADAL" clId="{E1ADAEFA-0819-48B3-A64F-F045271CCB02}" dt="2021-08-26T14:55:19.407" v="983"/>
        <pc:sldMkLst>
          <pc:docMk/>
          <pc:sldMk cId="1619510740" sldId="1054"/>
        </pc:sldMkLst>
        <pc:spChg chg="add mod">
          <ac:chgData name="Krutika Lalla | Team Ethinos" userId="80bccb9e-2b52-4849-a9ba-69f41326eb8a" providerId="ADAL" clId="{E1ADAEFA-0819-48B3-A64F-F045271CCB02}" dt="2021-08-26T14:35:22.384" v="877" actId="1076"/>
          <ac:spMkLst>
            <pc:docMk/>
            <pc:sldMk cId="1619510740" sldId="1054"/>
            <ac:spMk id="2" creationId="{DD00726D-E419-40FF-8767-46DDB00315A0}"/>
          </ac:spMkLst>
        </pc:spChg>
        <pc:spChg chg="add mod">
          <ac:chgData name="Krutika Lalla | Team Ethinos" userId="80bccb9e-2b52-4849-a9ba-69f41326eb8a" providerId="ADAL" clId="{E1ADAEFA-0819-48B3-A64F-F045271CCB02}" dt="2021-08-26T14:30:57.228" v="851" actId="1076"/>
          <ac:spMkLst>
            <pc:docMk/>
            <pc:sldMk cId="1619510740" sldId="1054"/>
            <ac:spMk id="3" creationId="{7912886A-4E89-4BBF-B04E-45A74FBB1E64}"/>
          </ac:spMkLst>
        </pc:spChg>
      </pc:sldChg>
      <pc:sldChg chg="modSp add mod">
        <pc:chgData name="Krutika Lalla | Team Ethinos" userId="80bccb9e-2b52-4849-a9ba-69f41326eb8a" providerId="ADAL" clId="{E1ADAEFA-0819-48B3-A64F-F045271CCB02}" dt="2021-08-26T14:44:53.670" v="966" actId="207"/>
        <pc:sldMkLst>
          <pc:docMk/>
          <pc:sldMk cId="3051857795" sldId="1062"/>
        </pc:sldMkLst>
        <pc:spChg chg="mod">
          <ac:chgData name="Krutika Lalla | Team Ethinos" userId="80bccb9e-2b52-4849-a9ba-69f41326eb8a" providerId="ADAL" clId="{E1ADAEFA-0819-48B3-A64F-F045271CCB02}" dt="2021-08-26T14:44:53.670" v="966" actId="207"/>
          <ac:spMkLst>
            <pc:docMk/>
            <pc:sldMk cId="3051857795" sldId="1062"/>
            <ac:spMk id="4" creationId="{15E659B3-EA4B-405E-9FAE-00661F32418F}"/>
          </ac:spMkLst>
        </pc:spChg>
      </pc:sldChg>
      <pc:sldMasterChg chg="delSldLayout">
        <pc:chgData name="Krutika Lalla | Team Ethinos" userId="80bccb9e-2b52-4849-a9ba-69f41326eb8a" providerId="ADAL" clId="{E1ADAEFA-0819-48B3-A64F-F045271CCB02}" dt="2021-08-26T14:38:03.998" v="895" actId="47"/>
        <pc:sldMasterMkLst>
          <pc:docMk/>
          <pc:sldMasterMk cId="3148905397" sldId="2147483899"/>
        </pc:sldMasterMkLst>
      </pc:sldMasterChg>
    </pc:docChg>
  </pc:docChgLst>
  <pc:docChgLst>
    <pc:chgData name="Krutika Lalla | Team Ethinos" userId="80bccb9e-2b52-4849-a9ba-69f41326eb8a" providerId="ADAL" clId="{B91AC302-AE42-4299-9F94-E580F776EA86}"/>
    <pc:docChg chg="undo custSel addSld delSld modSld">
      <pc:chgData name="Krutika Lalla | Team Ethinos" userId="80bccb9e-2b52-4849-a9ba-69f41326eb8a" providerId="ADAL" clId="{B91AC302-AE42-4299-9F94-E580F776EA86}" dt="2021-07-30T17:48:51.658" v="295" actId="478"/>
      <pc:docMkLst>
        <pc:docMk/>
      </pc:docMkLst>
      <pc:sldMasterChg chg="delSldLayout">
        <pc:chgData name="Krutika Lalla | Team Ethinos" userId="80bccb9e-2b52-4849-a9ba-69f41326eb8a" providerId="ADAL" clId="{B91AC302-AE42-4299-9F94-E580F776EA86}" dt="2021-07-30T17:46:46.173" v="294" actId="47"/>
        <pc:sldMasterMkLst>
          <pc:docMk/>
          <pc:sldMasterMk cId="3148905397" sldId="2147483899"/>
        </pc:sldMasterMkLst>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9/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9/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3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1682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vmlDrawing" Target="../drawings/vmlDrawing5.vml"/><Relationship Id="rId1" Type="http://schemas.openxmlformats.org/officeDocument/2006/relationships/theme" Target="../theme/theme2.xml"/><Relationship Id="rId5" Type="http://schemas.openxmlformats.org/officeDocument/2006/relationships/image" Target="../media/image1.emf"/><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61" r:id="rId14"/>
    <p:sldLayoutId id="2147483958" r:id="rId15"/>
    <p:sldLayoutId id="2147483959" r:id="rId16"/>
    <p:sldLayoutId id="2147483918" r:id="rId17"/>
    <p:sldLayoutId id="2147483922" r:id="rId18"/>
    <p:sldLayoutId id="2147483950" r:id="rId19"/>
    <p:sldLayoutId id="2147483962"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58"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jpeg"/></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Shape&#10;&#10;Description automatically generated with medium confidence">
            <a:extLst>
              <a:ext uri="{FF2B5EF4-FFF2-40B4-BE49-F238E27FC236}">
                <a16:creationId xmlns:a16="http://schemas.microsoft.com/office/drawing/2014/main" id="{02D33A4D-19B0-49FF-A195-B570C159F5FD}"/>
              </a:ext>
            </a:extLst>
          </p:cNvPr>
          <p:cNvPicPr>
            <a:picLocks noChangeAspect="1"/>
          </p:cNvPicPr>
          <p:nvPr/>
        </p:nvPicPr>
        <p:blipFill rotWithShape="1">
          <a:blip r:embed="rId2"/>
          <a:srcRect l="5694" r="13718" b="21093"/>
          <a:stretch/>
        </p:blipFill>
        <p:spPr>
          <a:xfrm>
            <a:off x="839416" y="767801"/>
            <a:ext cx="11881320" cy="6756783"/>
          </a:xfrm>
          <a:prstGeom prst="rect">
            <a:avLst/>
          </a:prstGeom>
        </p:spPr>
      </p:pic>
      <p:sp>
        <p:nvSpPr>
          <p:cNvPr id="13" name="Subtitle 1">
            <a:extLst>
              <a:ext uri="{FF2B5EF4-FFF2-40B4-BE49-F238E27FC236}">
                <a16:creationId xmlns:a16="http://schemas.microsoft.com/office/drawing/2014/main" id="{090C35E7-7604-4DB3-AF93-CF918B34D0E8}"/>
              </a:ext>
            </a:extLst>
          </p:cNvPr>
          <p:cNvSpPr txBox="1">
            <a:spLocks/>
          </p:cNvSpPr>
          <p:nvPr/>
        </p:nvSpPr>
        <p:spPr>
          <a:xfrm>
            <a:off x="455421" y="3321147"/>
            <a:ext cx="4367808" cy="36933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solidFill>
                  <a:schemeClr val="bg1"/>
                </a:solidFill>
              </a:rPr>
              <a:t>Hack on </a:t>
            </a:r>
            <a:r>
              <a:rPr lang="en-IN" b="1" dirty="0">
                <a:solidFill>
                  <a:schemeClr val="bg1"/>
                </a:solidFill>
              </a:rPr>
              <a:t>Real-Life Challenges</a:t>
            </a:r>
          </a:p>
        </p:txBody>
      </p:sp>
      <p:sp>
        <p:nvSpPr>
          <p:cNvPr id="15" name="TextBox 14">
            <a:extLst>
              <a:ext uri="{FF2B5EF4-FFF2-40B4-BE49-F238E27FC236}">
                <a16:creationId xmlns:a16="http://schemas.microsoft.com/office/drawing/2014/main" id="{7A872644-7283-4789-9928-A28129C60119}"/>
              </a:ext>
            </a:extLst>
          </p:cNvPr>
          <p:cNvSpPr txBox="1"/>
          <p:nvPr/>
        </p:nvSpPr>
        <p:spPr>
          <a:xfrm>
            <a:off x="394751" y="4027937"/>
            <a:ext cx="5915413" cy="1815882"/>
          </a:xfrm>
          <a:prstGeom prst="rect">
            <a:avLst/>
          </a:prstGeom>
          <a:noFill/>
        </p:spPr>
        <p:txBody>
          <a:bodyPr wrap="square" rtlCol="0">
            <a:spAutoFit/>
          </a:bodyPr>
          <a:lstStyle/>
          <a:p>
            <a:r>
              <a:rPr lang="en-US" sz="2400" b="1" dirty="0">
                <a:solidFill>
                  <a:schemeClr val="bg1"/>
                </a:solidFill>
              </a:rPr>
              <a:t>Digitizing a Paper Records form with Optical Character Recognition</a:t>
            </a:r>
          </a:p>
          <a:p>
            <a:endParaRPr lang="en-US" sz="2400" b="1" dirty="0">
              <a:solidFill>
                <a:schemeClr val="bg1"/>
              </a:solidFill>
            </a:endParaRPr>
          </a:p>
          <a:p>
            <a:r>
              <a:rPr lang="en-US" sz="2400" b="1" dirty="0">
                <a:solidFill>
                  <a:schemeClr val="bg1"/>
                </a:solidFill>
              </a:rPr>
              <a:t>Vishal Kumar Saw</a:t>
            </a:r>
            <a:r>
              <a:rPr lang="en-US" sz="4000" b="1" dirty="0">
                <a:solidFill>
                  <a:schemeClr val="bg1"/>
                </a:solidFill>
              </a:rPr>
              <a:t> </a:t>
            </a:r>
            <a:endParaRPr lang="en-US" sz="4000" b="1" i="1" dirty="0">
              <a:solidFill>
                <a:schemeClr val="bg1"/>
              </a:solidFill>
            </a:endParaRPr>
          </a:p>
        </p:txBody>
      </p:sp>
      <p:pic>
        <p:nvPicPr>
          <p:cNvPr id="8" name="Picture 7" descr="Logo&#10;&#10;Description automatically generated">
            <a:extLst>
              <a:ext uri="{FF2B5EF4-FFF2-40B4-BE49-F238E27FC236}">
                <a16:creationId xmlns:a16="http://schemas.microsoft.com/office/drawing/2014/main" id="{9C80EF16-298F-422F-8D6C-1BB137BA19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145" y="1552631"/>
            <a:ext cx="3552347" cy="1692873"/>
          </a:xfrm>
          <a:prstGeom prst="rect">
            <a:avLst/>
          </a:prstGeom>
        </p:spPr>
      </p:pic>
      <p:pic>
        <p:nvPicPr>
          <p:cNvPr id="3" name="Picture 2" descr="A person wearing headphones and sitting at a table with a computer&#10;&#10;Description automatically generated with low confidence">
            <a:extLst>
              <a:ext uri="{FF2B5EF4-FFF2-40B4-BE49-F238E27FC236}">
                <a16:creationId xmlns:a16="http://schemas.microsoft.com/office/drawing/2014/main" id="{0DF5EDD2-8A4C-4BE9-9EF1-E40F21DD1F2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0576" r="22225"/>
          <a:stretch/>
        </p:blipFill>
        <p:spPr>
          <a:xfrm>
            <a:off x="6310164" y="0"/>
            <a:ext cx="5906516" cy="6885384"/>
          </a:xfrm>
          <a:prstGeom prst="rect">
            <a:avLst/>
          </a:prstGeom>
        </p:spPr>
      </p:pic>
      <p:pic>
        <p:nvPicPr>
          <p:cNvPr id="9" name="Picture 8" descr="Text&#10;&#10;Description automatically generated">
            <a:extLst>
              <a:ext uri="{FF2B5EF4-FFF2-40B4-BE49-F238E27FC236}">
                <a16:creationId xmlns:a16="http://schemas.microsoft.com/office/drawing/2014/main" id="{2E25FA84-EA4A-46B7-AE66-6504E234B55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5421" y="5935056"/>
            <a:ext cx="1966913" cy="767754"/>
          </a:xfrm>
          <a:prstGeom prst="rect">
            <a:avLst/>
          </a:prstGeom>
        </p:spPr>
      </p:pic>
    </p:spTree>
    <p:extLst>
      <p:ext uri="{BB962C8B-B14F-4D97-AF65-F5344CB8AC3E}">
        <p14:creationId xmlns:p14="http://schemas.microsoft.com/office/powerpoint/2010/main" val="9674269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14F937-ED13-41DD-B96D-5986F42A4A68}"/>
              </a:ext>
            </a:extLst>
          </p:cNvPr>
          <p:cNvSpPr>
            <a:spLocks noGrp="1"/>
          </p:cNvSpPr>
          <p:nvPr>
            <p:ph type="body" sz="quarter" idx="10"/>
          </p:nvPr>
        </p:nvSpPr>
        <p:spPr/>
        <p:txBody>
          <a:bodyPr/>
          <a:lstStyle/>
          <a:p>
            <a:r>
              <a:rPr lang="en-US" b="0" dirty="0"/>
              <a:t>Sample Filled </a:t>
            </a:r>
          </a:p>
          <a:p>
            <a:r>
              <a:rPr lang="en-US" b="0" dirty="0"/>
              <a:t>Form</a:t>
            </a:r>
          </a:p>
          <a:p>
            <a:r>
              <a:rPr lang="en-US" dirty="0"/>
              <a:t>extraction</a:t>
            </a:r>
            <a:endParaRPr lang="en-US" b="0" dirty="0"/>
          </a:p>
          <a:p>
            <a:endParaRPr lang="en-US" b="0" dirty="0"/>
          </a:p>
        </p:txBody>
      </p:sp>
      <p:sp>
        <p:nvSpPr>
          <p:cNvPr id="3" name="Title 2">
            <a:extLst>
              <a:ext uri="{FF2B5EF4-FFF2-40B4-BE49-F238E27FC236}">
                <a16:creationId xmlns:a16="http://schemas.microsoft.com/office/drawing/2014/main" id="{0DC4DCA7-98E9-4955-85A5-AF4A9C228593}"/>
              </a:ext>
            </a:extLst>
          </p:cNvPr>
          <p:cNvSpPr>
            <a:spLocks noGrp="1"/>
          </p:cNvSpPr>
          <p:nvPr>
            <p:ph type="title"/>
          </p:nvPr>
        </p:nvSpPr>
        <p:spPr/>
        <p:txBody>
          <a:bodyPr/>
          <a:lstStyle/>
          <a:p>
            <a:r>
              <a:rPr lang="en-US" sz="3600" dirty="0">
                <a:solidFill>
                  <a:srgbClr val="2B0A3D"/>
                </a:solidFill>
              </a:rPr>
              <a:t>Prototype/MVP Demo Video/Screenshots</a:t>
            </a:r>
          </a:p>
        </p:txBody>
      </p:sp>
      <p:pic>
        <p:nvPicPr>
          <p:cNvPr id="4" name="Picture 3">
            <a:extLst>
              <a:ext uri="{FF2B5EF4-FFF2-40B4-BE49-F238E27FC236}">
                <a16:creationId xmlns:a16="http://schemas.microsoft.com/office/drawing/2014/main" id="{E71B0588-EBE4-DC40-80AD-169ED25E00F1}"/>
              </a:ext>
            </a:extLst>
          </p:cNvPr>
          <p:cNvPicPr>
            <a:picLocks noChangeAspect="1"/>
          </p:cNvPicPr>
          <p:nvPr/>
        </p:nvPicPr>
        <p:blipFill>
          <a:blip r:embed="rId2"/>
          <a:stretch>
            <a:fillRect/>
          </a:stretch>
        </p:blipFill>
        <p:spPr>
          <a:xfrm>
            <a:off x="2063552" y="1200054"/>
            <a:ext cx="10128448" cy="5598523"/>
          </a:xfrm>
          <a:prstGeom prst="rect">
            <a:avLst/>
          </a:prstGeom>
        </p:spPr>
      </p:pic>
    </p:spTree>
    <p:extLst>
      <p:ext uri="{BB962C8B-B14F-4D97-AF65-F5344CB8AC3E}">
        <p14:creationId xmlns:p14="http://schemas.microsoft.com/office/powerpoint/2010/main" val="38941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14F937-ED13-41DD-B96D-5986F42A4A68}"/>
              </a:ext>
            </a:extLst>
          </p:cNvPr>
          <p:cNvSpPr>
            <a:spLocks noGrp="1"/>
          </p:cNvSpPr>
          <p:nvPr>
            <p:ph type="body" sz="quarter" idx="10"/>
          </p:nvPr>
        </p:nvSpPr>
        <p:spPr/>
        <p:txBody>
          <a:bodyPr/>
          <a:lstStyle/>
          <a:p>
            <a:r>
              <a:rPr lang="en-US" b="0" dirty="0"/>
              <a:t>Sample Filled </a:t>
            </a:r>
          </a:p>
          <a:p>
            <a:r>
              <a:rPr lang="en-US" b="0" dirty="0"/>
              <a:t>Form </a:t>
            </a:r>
          </a:p>
          <a:p>
            <a:r>
              <a:rPr lang="en-US" b="0" dirty="0"/>
              <a:t>extraction</a:t>
            </a:r>
          </a:p>
          <a:p>
            <a:endParaRPr lang="en-US" b="0" dirty="0"/>
          </a:p>
        </p:txBody>
      </p:sp>
      <p:sp>
        <p:nvSpPr>
          <p:cNvPr id="3" name="Title 2">
            <a:extLst>
              <a:ext uri="{FF2B5EF4-FFF2-40B4-BE49-F238E27FC236}">
                <a16:creationId xmlns:a16="http://schemas.microsoft.com/office/drawing/2014/main" id="{0DC4DCA7-98E9-4955-85A5-AF4A9C228593}"/>
              </a:ext>
            </a:extLst>
          </p:cNvPr>
          <p:cNvSpPr>
            <a:spLocks noGrp="1"/>
          </p:cNvSpPr>
          <p:nvPr>
            <p:ph type="title"/>
          </p:nvPr>
        </p:nvSpPr>
        <p:spPr/>
        <p:txBody>
          <a:bodyPr/>
          <a:lstStyle/>
          <a:p>
            <a:r>
              <a:rPr lang="en-US" sz="3600" dirty="0">
                <a:solidFill>
                  <a:srgbClr val="2B0A3D"/>
                </a:solidFill>
              </a:rPr>
              <a:t>Prototype/MVP Demo Video/Screenshots</a:t>
            </a:r>
          </a:p>
        </p:txBody>
      </p:sp>
      <p:pic>
        <p:nvPicPr>
          <p:cNvPr id="5" name="Picture 4">
            <a:extLst>
              <a:ext uri="{FF2B5EF4-FFF2-40B4-BE49-F238E27FC236}">
                <a16:creationId xmlns:a16="http://schemas.microsoft.com/office/drawing/2014/main" id="{957E952F-2EF3-BE48-AEAE-03637675A078}"/>
              </a:ext>
            </a:extLst>
          </p:cNvPr>
          <p:cNvPicPr>
            <a:picLocks noChangeAspect="1"/>
          </p:cNvPicPr>
          <p:nvPr/>
        </p:nvPicPr>
        <p:blipFill>
          <a:blip r:embed="rId2"/>
          <a:stretch>
            <a:fillRect/>
          </a:stretch>
        </p:blipFill>
        <p:spPr>
          <a:xfrm>
            <a:off x="2063552" y="980728"/>
            <a:ext cx="4752527" cy="5643411"/>
          </a:xfrm>
          <a:prstGeom prst="rect">
            <a:avLst/>
          </a:prstGeom>
        </p:spPr>
      </p:pic>
      <p:pic>
        <p:nvPicPr>
          <p:cNvPr id="6" name="Picture 5">
            <a:extLst>
              <a:ext uri="{FF2B5EF4-FFF2-40B4-BE49-F238E27FC236}">
                <a16:creationId xmlns:a16="http://schemas.microsoft.com/office/drawing/2014/main" id="{0839E3A0-51B0-504F-8235-83C9FA829239}"/>
              </a:ext>
            </a:extLst>
          </p:cNvPr>
          <p:cNvPicPr>
            <a:picLocks noChangeAspect="1"/>
          </p:cNvPicPr>
          <p:nvPr/>
        </p:nvPicPr>
        <p:blipFill>
          <a:blip r:embed="rId3"/>
          <a:stretch>
            <a:fillRect/>
          </a:stretch>
        </p:blipFill>
        <p:spPr>
          <a:xfrm>
            <a:off x="6960096" y="1097957"/>
            <a:ext cx="5269136" cy="5643411"/>
          </a:xfrm>
          <a:prstGeom prst="rect">
            <a:avLst/>
          </a:prstGeom>
        </p:spPr>
      </p:pic>
    </p:spTree>
    <p:extLst>
      <p:ext uri="{BB962C8B-B14F-4D97-AF65-F5344CB8AC3E}">
        <p14:creationId xmlns:p14="http://schemas.microsoft.com/office/powerpoint/2010/main" val="3856783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14F937-ED13-41DD-B96D-5986F42A4A68}"/>
              </a:ext>
            </a:extLst>
          </p:cNvPr>
          <p:cNvSpPr>
            <a:spLocks noGrp="1"/>
          </p:cNvSpPr>
          <p:nvPr>
            <p:ph type="body" sz="quarter" idx="10"/>
          </p:nvPr>
        </p:nvSpPr>
        <p:spPr/>
        <p:txBody>
          <a:bodyPr>
            <a:normAutofit/>
          </a:bodyPr>
          <a:lstStyle/>
          <a:p>
            <a:pPr marL="342900" indent="-342900">
              <a:buFont typeface="Arial" panose="020B0604020202020204" pitchFamily="34" charset="0"/>
              <a:buChar char="•"/>
            </a:pPr>
            <a:r>
              <a:rPr lang="en-US" sz="3600" b="0" dirty="0"/>
              <a:t>Data scanning accuracy </a:t>
            </a:r>
          </a:p>
          <a:p>
            <a:pPr marL="342900" indent="-342900">
              <a:buFont typeface="Arial" panose="020B0604020202020204" pitchFamily="34" charset="0"/>
              <a:buChar char="•"/>
            </a:pPr>
            <a:r>
              <a:rPr lang="en-US" sz="3600" dirty="0"/>
              <a:t>Skew correction</a:t>
            </a:r>
            <a:endParaRPr lang="en-US" sz="3600" b="0" dirty="0"/>
          </a:p>
          <a:p>
            <a:pPr marL="342900" indent="-342900">
              <a:buFont typeface="Arial" panose="020B0604020202020204" pitchFamily="34" charset="0"/>
              <a:buChar char="•"/>
            </a:pPr>
            <a:r>
              <a:rPr lang="en-US" sz="3600" dirty="0"/>
              <a:t>Data mapping of the scanned form with Database tables</a:t>
            </a:r>
            <a:endParaRPr lang="en-US" sz="3600" b="0" dirty="0"/>
          </a:p>
        </p:txBody>
      </p:sp>
      <p:sp>
        <p:nvSpPr>
          <p:cNvPr id="3" name="Title 2">
            <a:extLst>
              <a:ext uri="{FF2B5EF4-FFF2-40B4-BE49-F238E27FC236}">
                <a16:creationId xmlns:a16="http://schemas.microsoft.com/office/drawing/2014/main" id="{0DC4DCA7-98E9-4955-85A5-AF4A9C228593}"/>
              </a:ext>
            </a:extLst>
          </p:cNvPr>
          <p:cNvSpPr>
            <a:spLocks noGrp="1"/>
          </p:cNvSpPr>
          <p:nvPr>
            <p:ph type="title"/>
          </p:nvPr>
        </p:nvSpPr>
        <p:spPr/>
        <p:txBody>
          <a:bodyPr/>
          <a:lstStyle/>
          <a:p>
            <a:r>
              <a:rPr lang="en-US" sz="4000" dirty="0"/>
              <a:t>Challenges Faced</a:t>
            </a:r>
          </a:p>
        </p:txBody>
      </p:sp>
    </p:spTree>
    <p:extLst>
      <p:ext uri="{BB962C8B-B14F-4D97-AF65-F5344CB8AC3E}">
        <p14:creationId xmlns:p14="http://schemas.microsoft.com/office/powerpoint/2010/main" val="20866892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74AEA3-7FD8-4EAF-9E6D-FB8F2DBE2081}"/>
              </a:ext>
            </a:extLst>
          </p:cNvPr>
          <p:cNvSpPr>
            <a:spLocks noGrp="1"/>
          </p:cNvSpPr>
          <p:nvPr>
            <p:ph type="ctrTitle"/>
          </p:nvPr>
        </p:nvSpPr>
        <p:spPr>
          <a:xfrm>
            <a:off x="402933" y="2204864"/>
            <a:ext cx="11386134" cy="2031325"/>
          </a:xfrm>
        </p:spPr>
        <p:txBody>
          <a:bodyPr/>
          <a:lstStyle/>
          <a:p>
            <a:pPr algn="ctr"/>
            <a:r>
              <a:rPr lang="en-US" dirty="0"/>
              <a:t>Way Forward with the solution</a:t>
            </a:r>
          </a:p>
        </p:txBody>
      </p:sp>
      <p:pic>
        <p:nvPicPr>
          <p:cNvPr id="4" name="Picture 3" descr="Logo&#10;&#10;Description automatically generated">
            <a:extLst>
              <a:ext uri="{FF2B5EF4-FFF2-40B4-BE49-F238E27FC236}">
                <a16:creationId xmlns:a16="http://schemas.microsoft.com/office/drawing/2014/main" id="{82B79F6E-6229-45B3-963C-F9E1B8FBB1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07564" y="5949280"/>
            <a:ext cx="1481503" cy="706011"/>
          </a:xfrm>
          <a:prstGeom prst="rect">
            <a:avLst/>
          </a:prstGeom>
        </p:spPr>
      </p:pic>
    </p:spTree>
    <p:extLst>
      <p:ext uri="{BB962C8B-B14F-4D97-AF65-F5344CB8AC3E}">
        <p14:creationId xmlns:p14="http://schemas.microsoft.com/office/powerpoint/2010/main" val="2439013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C4DCA7-98E9-4955-85A5-AF4A9C228593}"/>
              </a:ext>
            </a:extLst>
          </p:cNvPr>
          <p:cNvSpPr>
            <a:spLocks noGrp="1"/>
          </p:cNvSpPr>
          <p:nvPr>
            <p:ph type="title"/>
          </p:nvPr>
        </p:nvSpPr>
        <p:spPr/>
        <p:txBody>
          <a:bodyPr/>
          <a:lstStyle/>
          <a:p>
            <a:r>
              <a:rPr lang="en-US" sz="3600" dirty="0">
                <a:solidFill>
                  <a:srgbClr val="2B0A3D"/>
                </a:solidFill>
              </a:rPr>
              <a:t>Future Enhancements</a:t>
            </a:r>
          </a:p>
        </p:txBody>
      </p:sp>
      <p:sp>
        <p:nvSpPr>
          <p:cNvPr id="6" name="Oval 20">
            <a:extLst>
              <a:ext uri="{FF2B5EF4-FFF2-40B4-BE49-F238E27FC236}">
                <a16:creationId xmlns:a16="http://schemas.microsoft.com/office/drawing/2014/main" id="{22F0DCBB-D56A-4476-9951-2EEDD15A660F}"/>
              </a:ext>
            </a:extLst>
          </p:cNvPr>
          <p:cNvSpPr/>
          <p:nvPr/>
        </p:nvSpPr>
        <p:spPr>
          <a:xfrm>
            <a:off x="911424" y="1700808"/>
            <a:ext cx="1564516" cy="13438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mj-lt"/>
                <a:ea typeface="+mn-ea"/>
                <a:cs typeface="+mn-cs"/>
              </a:rPr>
              <a:t>1</a:t>
            </a:r>
          </a:p>
        </p:txBody>
      </p:sp>
      <p:sp>
        <p:nvSpPr>
          <p:cNvPr id="7" name="Oval 20">
            <a:extLst>
              <a:ext uri="{FF2B5EF4-FFF2-40B4-BE49-F238E27FC236}">
                <a16:creationId xmlns:a16="http://schemas.microsoft.com/office/drawing/2014/main" id="{92BFFD0E-0DBF-4DBB-9C91-78CDB77C4B92}"/>
              </a:ext>
            </a:extLst>
          </p:cNvPr>
          <p:cNvSpPr/>
          <p:nvPr/>
        </p:nvSpPr>
        <p:spPr>
          <a:xfrm>
            <a:off x="6240016" y="4317270"/>
            <a:ext cx="1523540" cy="143949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Verdana"/>
                <a:ea typeface="+mn-ea"/>
                <a:cs typeface="+mn-cs"/>
              </a:rPr>
              <a:t>4</a:t>
            </a:r>
          </a:p>
        </p:txBody>
      </p:sp>
      <p:sp>
        <p:nvSpPr>
          <p:cNvPr id="8" name="Oval 20">
            <a:extLst>
              <a:ext uri="{FF2B5EF4-FFF2-40B4-BE49-F238E27FC236}">
                <a16:creationId xmlns:a16="http://schemas.microsoft.com/office/drawing/2014/main" id="{FAFB3BB0-69E4-4038-BC83-D4BA0008F123}"/>
              </a:ext>
            </a:extLst>
          </p:cNvPr>
          <p:cNvSpPr/>
          <p:nvPr/>
        </p:nvSpPr>
        <p:spPr>
          <a:xfrm>
            <a:off x="6240016" y="1652974"/>
            <a:ext cx="1523540" cy="143949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E30021"/>
          </a:solid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Verdana"/>
                <a:ea typeface="+mn-ea"/>
                <a:cs typeface="+mn-cs"/>
              </a:rPr>
              <a:t>3</a:t>
            </a:r>
          </a:p>
        </p:txBody>
      </p:sp>
      <p:sp>
        <p:nvSpPr>
          <p:cNvPr id="9" name="Oval 20">
            <a:extLst>
              <a:ext uri="{FF2B5EF4-FFF2-40B4-BE49-F238E27FC236}">
                <a16:creationId xmlns:a16="http://schemas.microsoft.com/office/drawing/2014/main" id="{0E474FC3-1A0F-413F-83AE-08A289D380C3}"/>
              </a:ext>
            </a:extLst>
          </p:cNvPr>
          <p:cNvSpPr/>
          <p:nvPr/>
        </p:nvSpPr>
        <p:spPr>
          <a:xfrm>
            <a:off x="914099" y="4365104"/>
            <a:ext cx="1564516" cy="13438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14554"/>
          </a:solidFill>
          <a:ln>
            <a:solidFill>
              <a:srgbClr val="2145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mj-lt"/>
                <a:ea typeface="+mn-ea"/>
                <a:cs typeface="+mn-cs"/>
              </a:rPr>
              <a:t>2</a:t>
            </a:r>
            <a:endParaRPr kumimoji="0" lang="pt-PT" b="0" i="0" u="none" strike="noStrike" kern="1200" cap="none" spc="0" normalizeH="0" baseline="0" noProof="0" dirty="0">
              <a:ln>
                <a:noFill/>
              </a:ln>
              <a:solidFill>
                <a:srgbClr val="FFFFFF"/>
              </a:solidFill>
              <a:effectLst/>
              <a:uLnTx/>
              <a:uFillTx/>
              <a:latin typeface="+mj-lt"/>
              <a:ea typeface="+mn-ea"/>
              <a:cs typeface="+mn-cs"/>
            </a:endParaRPr>
          </a:p>
        </p:txBody>
      </p:sp>
      <p:sp>
        <p:nvSpPr>
          <p:cNvPr id="10" name="TextBox 9">
            <a:extLst>
              <a:ext uri="{FF2B5EF4-FFF2-40B4-BE49-F238E27FC236}">
                <a16:creationId xmlns:a16="http://schemas.microsoft.com/office/drawing/2014/main" id="{59462FB5-BA2F-4299-8302-F03555015524}"/>
              </a:ext>
            </a:extLst>
          </p:cNvPr>
          <p:cNvSpPr txBox="1"/>
          <p:nvPr/>
        </p:nvSpPr>
        <p:spPr>
          <a:xfrm>
            <a:off x="2930905" y="2048511"/>
            <a:ext cx="3718242" cy="830997"/>
          </a:xfrm>
          <a:prstGeom prst="rect">
            <a:avLst/>
          </a:prstGeom>
          <a:noFill/>
        </p:spPr>
        <p:txBody>
          <a:bodyPr wrap="square" rtlCol="0">
            <a:spAutoFit/>
          </a:bodyPr>
          <a:lstStyle/>
          <a:p>
            <a:r>
              <a:rPr lang="en-US" sz="2400" dirty="0"/>
              <a:t>Batch Processing</a:t>
            </a:r>
          </a:p>
          <a:p>
            <a:r>
              <a:rPr lang="en-US" sz="2400" dirty="0"/>
              <a:t>For Bulk Upload</a:t>
            </a:r>
          </a:p>
        </p:txBody>
      </p:sp>
      <p:sp>
        <p:nvSpPr>
          <p:cNvPr id="12" name="TextBox 11">
            <a:extLst>
              <a:ext uri="{FF2B5EF4-FFF2-40B4-BE49-F238E27FC236}">
                <a16:creationId xmlns:a16="http://schemas.microsoft.com/office/drawing/2014/main" id="{9043D54F-FED8-4EDC-9008-C7EE85562640}"/>
              </a:ext>
            </a:extLst>
          </p:cNvPr>
          <p:cNvSpPr txBox="1"/>
          <p:nvPr/>
        </p:nvSpPr>
        <p:spPr>
          <a:xfrm>
            <a:off x="7968208" y="2048511"/>
            <a:ext cx="3718242" cy="461665"/>
          </a:xfrm>
          <a:prstGeom prst="rect">
            <a:avLst/>
          </a:prstGeom>
          <a:noFill/>
        </p:spPr>
        <p:txBody>
          <a:bodyPr wrap="square" rtlCol="0">
            <a:spAutoFit/>
          </a:bodyPr>
          <a:lstStyle/>
          <a:p>
            <a:r>
              <a:rPr lang="en-US" sz="2400" dirty="0"/>
              <a:t>Searchable PDF Creation</a:t>
            </a:r>
          </a:p>
        </p:txBody>
      </p:sp>
      <p:sp>
        <p:nvSpPr>
          <p:cNvPr id="13" name="TextBox 12">
            <a:extLst>
              <a:ext uri="{FF2B5EF4-FFF2-40B4-BE49-F238E27FC236}">
                <a16:creationId xmlns:a16="http://schemas.microsoft.com/office/drawing/2014/main" id="{8E44D3B4-39C3-4140-8ECA-F9E0B18EB909}"/>
              </a:ext>
            </a:extLst>
          </p:cNvPr>
          <p:cNvSpPr txBox="1"/>
          <p:nvPr/>
        </p:nvSpPr>
        <p:spPr>
          <a:xfrm>
            <a:off x="8173820" y="4436647"/>
            <a:ext cx="3754827" cy="830997"/>
          </a:xfrm>
          <a:prstGeom prst="rect">
            <a:avLst/>
          </a:prstGeom>
          <a:noFill/>
        </p:spPr>
        <p:txBody>
          <a:bodyPr wrap="square" rtlCol="0">
            <a:spAutoFit/>
          </a:bodyPr>
          <a:lstStyle/>
          <a:p>
            <a:r>
              <a:rPr lang="en-US" sz="2400" dirty="0"/>
              <a:t>Realtime scanning with mobile device camera</a:t>
            </a:r>
          </a:p>
        </p:txBody>
      </p:sp>
      <p:sp>
        <p:nvSpPr>
          <p:cNvPr id="14" name="TextBox 13">
            <a:extLst>
              <a:ext uri="{FF2B5EF4-FFF2-40B4-BE49-F238E27FC236}">
                <a16:creationId xmlns:a16="http://schemas.microsoft.com/office/drawing/2014/main" id="{14FB36A5-8228-1E43-BFB8-30952CDCAFE6}"/>
              </a:ext>
            </a:extLst>
          </p:cNvPr>
          <p:cNvSpPr txBox="1"/>
          <p:nvPr/>
        </p:nvSpPr>
        <p:spPr>
          <a:xfrm>
            <a:off x="2535296" y="4436647"/>
            <a:ext cx="3718242" cy="830997"/>
          </a:xfrm>
          <a:prstGeom prst="rect">
            <a:avLst/>
          </a:prstGeom>
          <a:noFill/>
        </p:spPr>
        <p:txBody>
          <a:bodyPr wrap="square" rtlCol="0">
            <a:spAutoFit/>
          </a:bodyPr>
          <a:lstStyle/>
          <a:p>
            <a:r>
              <a:rPr lang="en-US" sz="2400" dirty="0"/>
              <a:t>Read &amp; process dynamic form using NoSQL</a:t>
            </a:r>
          </a:p>
        </p:txBody>
      </p:sp>
    </p:spTree>
    <p:extLst>
      <p:ext uri="{BB962C8B-B14F-4D97-AF65-F5344CB8AC3E}">
        <p14:creationId xmlns:p14="http://schemas.microsoft.com/office/powerpoint/2010/main" val="20929723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D00726D-E419-40FF-8767-46DDB00315A0}"/>
              </a:ext>
            </a:extLst>
          </p:cNvPr>
          <p:cNvSpPr txBox="1"/>
          <p:nvPr/>
        </p:nvSpPr>
        <p:spPr>
          <a:xfrm>
            <a:off x="3575720" y="2875002"/>
            <a:ext cx="5040560" cy="1107996"/>
          </a:xfrm>
          <a:prstGeom prst="rect">
            <a:avLst/>
          </a:prstGeom>
          <a:noFill/>
        </p:spPr>
        <p:txBody>
          <a:bodyPr wrap="square" rtlCol="0">
            <a:spAutoFit/>
          </a:bodyPr>
          <a:lstStyle/>
          <a:p>
            <a:r>
              <a:rPr lang="en-US" sz="6600" dirty="0">
                <a:solidFill>
                  <a:schemeClr val="bg1"/>
                </a:solidFill>
              </a:rPr>
              <a:t>THANK YOU</a:t>
            </a:r>
          </a:p>
        </p:txBody>
      </p:sp>
      <p:sp>
        <p:nvSpPr>
          <p:cNvPr id="3" name="Graphic 6">
            <a:extLst>
              <a:ext uri="{FF2B5EF4-FFF2-40B4-BE49-F238E27FC236}">
                <a16:creationId xmlns:a16="http://schemas.microsoft.com/office/drawing/2014/main" id="{7912886A-4E89-4BBF-B04E-45A74FBB1E64}"/>
              </a:ext>
            </a:extLst>
          </p:cNvPr>
          <p:cNvSpPr>
            <a:spLocks/>
          </p:cNvSpPr>
          <p:nvPr/>
        </p:nvSpPr>
        <p:spPr>
          <a:xfrm rot="491471">
            <a:off x="149692" y="644271"/>
            <a:ext cx="11482346" cy="6302317"/>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1619510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3278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07A1C1FA-E3B3-4675-A6F5-16747606F24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02838" y="5722991"/>
            <a:ext cx="1481503" cy="706011"/>
          </a:xfrm>
          <a:prstGeom prst="rect">
            <a:avLst/>
          </a:prstGeom>
        </p:spPr>
      </p:pic>
      <p:sp>
        <p:nvSpPr>
          <p:cNvPr id="3" name="Subtitle 1">
            <a:extLst>
              <a:ext uri="{FF2B5EF4-FFF2-40B4-BE49-F238E27FC236}">
                <a16:creationId xmlns:a16="http://schemas.microsoft.com/office/drawing/2014/main" id="{4FF712A1-D545-464C-AABC-CBEA9BB681E4}"/>
              </a:ext>
            </a:extLst>
          </p:cNvPr>
          <p:cNvSpPr txBox="1">
            <a:spLocks/>
          </p:cNvSpPr>
          <p:nvPr/>
        </p:nvSpPr>
        <p:spPr>
          <a:xfrm>
            <a:off x="2320241" y="3352667"/>
            <a:ext cx="9610071" cy="153888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chemeClr val="bg1"/>
                </a:solidFill>
              </a:rPr>
              <a:t>Develop a Document Processing Platform for Insurance Providers and Bankers that will help to digitizing a Paper Records form with Optical Character Recognition</a:t>
            </a:r>
          </a:p>
          <a:p>
            <a:endParaRPr lang="en-GB" sz="2400" dirty="0">
              <a:solidFill>
                <a:schemeClr val="bg1"/>
              </a:solidFill>
            </a:endParaRPr>
          </a:p>
        </p:txBody>
      </p:sp>
      <p:sp>
        <p:nvSpPr>
          <p:cNvPr id="4" name="Title 2">
            <a:extLst>
              <a:ext uri="{FF2B5EF4-FFF2-40B4-BE49-F238E27FC236}">
                <a16:creationId xmlns:a16="http://schemas.microsoft.com/office/drawing/2014/main" id="{98327A7C-DFAD-4387-B95D-180FF5E3C54F}"/>
              </a:ext>
            </a:extLst>
          </p:cNvPr>
          <p:cNvSpPr txBox="1">
            <a:spLocks/>
          </p:cNvSpPr>
          <p:nvPr/>
        </p:nvSpPr>
        <p:spPr>
          <a:xfrm>
            <a:off x="7153525" y="1484784"/>
            <a:ext cx="4252907" cy="149579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5400" dirty="0">
                <a:solidFill>
                  <a:schemeClr val="bg1"/>
                </a:solidFill>
              </a:rPr>
              <a:t>Problem </a:t>
            </a:r>
            <a:br>
              <a:rPr lang="en-GB" sz="5400" dirty="0">
                <a:solidFill>
                  <a:schemeClr val="bg1"/>
                </a:solidFill>
              </a:rPr>
            </a:br>
            <a:r>
              <a:rPr lang="en-GB" sz="5400" dirty="0">
                <a:solidFill>
                  <a:schemeClr val="bg1"/>
                </a:solidFill>
              </a:rPr>
              <a:t>Statement</a:t>
            </a:r>
          </a:p>
        </p:txBody>
      </p:sp>
      <p:pic>
        <p:nvPicPr>
          <p:cNvPr id="7" name="Picture 6" descr="Text&#10;&#10;Description automatically generated">
            <a:extLst>
              <a:ext uri="{FF2B5EF4-FFF2-40B4-BE49-F238E27FC236}">
                <a16:creationId xmlns:a16="http://schemas.microsoft.com/office/drawing/2014/main" id="{DBFEA8AA-5046-40E0-93B6-AB12BB86DE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4341" y="5661248"/>
            <a:ext cx="1966913" cy="767754"/>
          </a:xfrm>
          <a:prstGeom prst="rect">
            <a:avLst/>
          </a:prstGeom>
        </p:spPr>
      </p:pic>
    </p:spTree>
    <p:extLst>
      <p:ext uri="{BB962C8B-B14F-4D97-AF65-F5344CB8AC3E}">
        <p14:creationId xmlns:p14="http://schemas.microsoft.com/office/powerpoint/2010/main" val="27865934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143672" y="2438400"/>
            <a:ext cx="3698310" cy="1638672"/>
          </a:xfrm>
        </p:spPr>
        <p:txBody>
          <a:bodyPr/>
          <a:lstStyle/>
          <a:p>
            <a:r>
              <a:rPr lang="en-IN" sz="4800" b="1" dirty="0">
                <a:solidFill>
                  <a:srgbClr val="12ABDB"/>
                </a:solidFill>
              </a:rPr>
              <a:t>THE SOLUTION</a:t>
            </a:r>
            <a:endParaRPr lang="en-IN" sz="3600" b="1" dirty="0">
              <a:solidFill>
                <a:srgbClr val="12ABDB"/>
              </a:solidFill>
            </a:endParaRPr>
          </a:p>
        </p:txBody>
      </p:sp>
    </p:spTree>
    <p:extLst>
      <p:ext uri="{BB962C8B-B14F-4D97-AF65-F5344CB8AC3E}">
        <p14:creationId xmlns:p14="http://schemas.microsoft.com/office/powerpoint/2010/main" val="3051857795"/>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8E5B7E-7F54-4910-AFA6-FE9823ACC576}"/>
              </a:ext>
            </a:extLst>
          </p:cNvPr>
          <p:cNvSpPr>
            <a:spLocks noGrp="1"/>
          </p:cNvSpPr>
          <p:nvPr>
            <p:ph type="body" sz="quarter" idx="10"/>
          </p:nvPr>
        </p:nvSpPr>
        <p:spPr/>
        <p:txBody>
          <a:bodyPr>
            <a:normAutofit/>
          </a:bodyPr>
          <a:lstStyle/>
          <a:p>
            <a:pPr marL="342900" lvl="0" indent="-342900">
              <a:buFont typeface="Arial" panose="020B0604020202020204" pitchFamily="34" charset="0"/>
              <a:buChar char="•"/>
            </a:pPr>
            <a:r>
              <a:rPr lang="en-US" sz="2800" dirty="0"/>
              <a:t>Insurance Provider Agent or Bank Agent should have ability to upload sample paper form and map it with variety of fields like square, signature, checkbox, text field along with multiple pages</a:t>
            </a:r>
          </a:p>
          <a:p>
            <a:pPr marL="342900" lvl="0" indent="-342900">
              <a:buFont typeface="Arial" panose="020B0604020202020204" pitchFamily="34" charset="0"/>
              <a:buChar char="•"/>
            </a:pPr>
            <a:r>
              <a:rPr lang="en-US" sz="2800" dirty="0"/>
              <a:t>Extracted data should be stored in database and shown to operator for correctness</a:t>
            </a:r>
          </a:p>
          <a:p>
            <a:pPr marL="342900" lvl="0" indent="-342900">
              <a:buFont typeface="Arial" panose="020B0604020202020204" pitchFamily="34" charset="0"/>
              <a:buChar char="•"/>
            </a:pPr>
            <a:r>
              <a:rPr lang="en-US" sz="2800" dirty="0"/>
              <a:t>Multiple Versions of the same form should be available on mobile devices for Agents to have touchless uploads</a:t>
            </a:r>
          </a:p>
          <a:p>
            <a:pPr marL="342900" lvl="0" indent="-342900">
              <a:buFont typeface="Arial" panose="020B0604020202020204" pitchFamily="34" charset="0"/>
              <a:buChar char="•"/>
            </a:pPr>
            <a:r>
              <a:rPr lang="en-US" sz="2800" dirty="0"/>
              <a:t>Machine Learning for OCR algorithm to achieve more and more accuracy</a:t>
            </a:r>
          </a:p>
        </p:txBody>
      </p:sp>
      <p:sp>
        <p:nvSpPr>
          <p:cNvPr id="3" name="Title 2">
            <a:extLst>
              <a:ext uri="{FF2B5EF4-FFF2-40B4-BE49-F238E27FC236}">
                <a16:creationId xmlns:a16="http://schemas.microsoft.com/office/drawing/2014/main" id="{63B77C5A-232F-4205-80F0-F40F3DF43527}"/>
              </a:ext>
            </a:extLst>
          </p:cNvPr>
          <p:cNvSpPr>
            <a:spLocks noGrp="1"/>
          </p:cNvSpPr>
          <p:nvPr>
            <p:ph type="title"/>
          </p:nvPr>
        </p:nvSpPr>
        <p:spPr>
          <a:xfrm>
            <a:off x="401473" y="332656"/>
            <a:ext cx="10947772" cy="716711"/>
          </a:xfrm>
        </p:spPr>
        <p:txBody>
          <a:bodyPr/>
          <a:lstStyle/>
          <a:p>
            <a:r>
              <a:rPr lang="en-US" sz="4000" dirty="0">
                <a:solidFill>
                  <a:srgbClr val="2B0A3D"/>
                </a:solidFill>
              </a:rPr>
              <a:t>Brief Synopsis of the Challenge</a:t>
            </a:r>
          </a:p>
        </p:txBody>
      </p:sp>
    </p:spTree>
    <p:extLst>
      <p:ext uri="{BB962C8B-B14F-4D97-AF65-F5344CB8AC3E}">
        <p14:creationId xmlns:p14="http://schemas.microsoft.com/office/powerpoint/2010/main" val="2046948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14F937-ED13-41DD-B96D-5986F42A4A68}"/>
              </a:ext>
            </a:extLst>
          </p:cNvPr>
          <p:cNvSpPr>
            <a:spLocks noGrp="1"/>
          </p:cNvSpPr>
          <p:nvPr>
            <p:ph type="body" sz="quarter" idx="10"/>
          </p:nvPr>
        </p:nvSpPr>
        <p:spPr/>
        <p:txBody>
          <a:bodyPr/>
          <a:lstStyle/>
          <a:p>
            <a:pPr marL="342900" indent="-342900">
              <a:buFont typeface="Arial" panose="020B0604020202020204" pitchFamily="34" charset="0"/>
              <a:buChar char="•"/>
            </a:pPr>
            <a:r>
              <a:rPr lang="en-US" sz="2800" dirty="0"/>
              <a:t>Paper based Baking forms are critical to Insurance Provider  and banks for managing their customer enrollment &amp; maintenance processes.</a:t>
            </a:r>
          </a:p>
          <a:p>
            <a:pPr marL="342900" indent="-342900">
              <a:buFont typeface="Arial" panose="020B0604020202020204" pitchFamily="34" charset="0"/>
              <a:buChar char="•"/>
            </a:pPr>
            <a:r>
              <a:rPr lang="en-US" sz="2800" dirty="0"/>
              <a:t>Amazon Textract is a fully managed machine learning service that automatically extracts text and data from scanned documents.</a:t>
            </a:r>
          </a:p>
          <a:p>
            <a:pPr marL="342900" indent="-342900">
              <a:buFont typeface="Arial" panose="020B0604020202020204" pitchFamily="34" charset="0"/>
              <a:buChar char="•"/>
            </a:pPr>
            <a:r>
              <a:rPr lang="en-US" sz="2800" dirty="0"/>
              <a:t>Amazon Textract  process the response with the Amazon Textract parser library.</a:t>
            </a:r>
          </a:p>
        </p:txBody>
      </p:sp>
      <p:sp>
        <p:nvSpPr>
          <p:cNvPr id="3" name="Title 2">
            <a:extLst>
              <a:ext uri="{FF2B5EF4-FFF2-40B4-BE49-F238E27FC236}">
                <a16:creationId xmlns:a16="http://schemas.microsoft.com/office/drawing/2014/main" id="{0DC4DCA7-98E9-4955-85A5-AF4A9C228593}"/>
              </a:ext>
            </a:extLst>
          </p:cNvPr>
          <p:cNvSpPr>
            <a:spLocks noGrp="1"/>
          </p:cNvSpPr>
          <p:nvPr>
            <p:ph type="title"/>
          </p:nvPr>
        </p:nvSpPr>
        <p:spPr/>
        <p:txBody>
          <a:bodyPr/>
          <a:lstStyle/>
          <a:p>
            <a:r>
              <a:rPr lang="en-US" sz="4000" dirty="0">
                <a:solidFill>
                  <a:srgbClr val="2B0A3D"/>
                </a:solidFill>
              </a:rPr>
              <a:t>Problem Being Addressed and Solved</a:t>
            </a:r>
          </a:p>
        </p:txBody>
      </p:sp>
    </p:spTree>
    <p:extLst>
      <p:ext uri="{BB962C8B-B14F-4D97-AF65-F5344CB8AC3E}">
        <p14:creationId xmlns:p14="http://schemas.microsoft.com/office/powerpoint/2010/main" val="631897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14F937-ED13-41DD-B96D-5986F42A4A68}"/>
              </a:ext>
            </a:extLst>
          </p:cNvPr>
          <p:cNvSpPr>
            <a:spLocks noGrp="1"/>
          </p:cNvSpPr>
          <p:nvPr>
            <p:ph type="body" sz="quarter" idx="10"/>
          </p:nvPr>
        </p:nvSpPr>
        <p:spPr/>
        <p:txBody>
          <a:bodyPr/>
          <a:lstStyle/>
          <a:p>
            <a:r>
              <a:rPr lang="en-US" sz="2000" dirty="0">
                <a:solidFill>
                  <a:srgbClr val="2B0A3D"/>
                </a:solidFill>
              </a:rPr>
              <a:t>List of technology stack being used</a:t>
            </a:r>
          </a:p>
          <a:p>
            <a:endParaRPr lang="en-US" dirty="0">
              <a:solidFill>
                <a:srgbClr val="2B0A3D"/>
              </a:solidFill>
            </a:endParaRPr>
          </a:p>
          <a:p>
            <a:pPr marL="342900" indent="-342900">
              <a:buFont typeface="Arial" panose="020B0604020202020204" pitchFamily="34" charset="0"/>
              <a:buChar char="•"/>
            </a:pPr>
            <a:r>
              <a:rPr lang="en-US" sz="2800" dirty="0">
                <a:solidFill>
                  <a:srgbClr val="2B0A3D"/>
                </a:solidFill>
              </a:rPr>
              <a:t>Spring Boot – Integrator, data correction GUI, DB Storage &amp; API provider</a:t>
            </a:r>
          </a:p>
          <a:p>
            <a:pPr marL="342900" indent="-342900">
              <a:buFont typeface="Arial" panose="020B0604020202020204" pitchFamily="34" charset="0"/>
              <a:buChar char="•"/>
            </a:pPr>
            <a:r>
              <a:rPr lang="en-US" sz="2800" dirty="0">
                <a:solidFill>
                  <a:srgbClr val="2B0A3D"/>
                </a:solidFill>
              </a:rPr>
              <a:t>AWS S3 bucket – Image and PDF upload and storage</a:t>
            </a:r>
          </a:p>
          <a:p>
            <a:pPr marL="342900" indent="-342900">
              <a:buFont typeface="Arial" panose="020B0604020202020204" pitchFamily="34" charset="0"/>
              <a:buChar char="•"/>
            </a:pPr>
            <a:r>
              <a:rPr lang="en-US" sz="2800" dirty="0">
                <a:solidFill>
                  <a:srgbClr val="2B0A3D"/>
                </a:solidFill>
              </a:rPr>
              <a:t>AWS Lambda – Lambda function for Textract API</a:t>
            </a:r>
          </a:p>
          <a:p>
            <a:pPr marL="342900" indent="-342900">
              <a:buFont typeface="Arial" panose="020B0604020202020204" pitchFamily="34" charset="0"/>
              <a:buChar char="•"/>
            </a:pPr>
            <a:r>
              <a:rPr lang="en-US" sz="2800" dirty="0">
                <a:solidFill>
                  <a:srgbClr val="2B0A3D"/>
                </a:solidFill>
              </a:rPr>
              <a:t>AWS Textract – E</a:t>
            </a:r>
            <a:r>
              <a:rPr lang="en-US" sz="2800" dirty="0"/>
              <a:t>xtracts text and data from scanned documents</a:t>
            </a:r>
            <a:r>
              <a:rPr lang="en-US" sz="2800" dirty="0">
                <a:solidFill>
                  <a:srgbClr val="2B0A3D"/>
                </a:solidFill>
              </a:rPr>
              <a:t> </a:t>
            </a:r>
          </a:p>
          <a:p>
            <a:pPr marL="342900" indent="-342900">
              <a:buFont typeface="Arial" panose="020B0604020202020204" pitchFamily="34" charset="0"/>
              <a:buChar char="•"/>
            </a:pPr>
            <a:r>
              <a:rPr lang="en-US" sz="2800" dirty="0">
                <a:solidFill>
                  <a:srgbClr val="2B0A3D"/>
                </a:solidFill>
              </a:rPr>
              <a:t>AWS Dynamo DB – Store form data</a:t>
            </a:r>
          </a:p>
          <a:p>
            <a:pPr marL="342900" indent="-342900">
              <a:buFont typeface="Arial" panose="020B0604020202020204" pitchFamily="34" charset="0"/>
              <a:buChar char="•"/>
            </a:pPr>
            <a:r>
              <a:rPr lang="en-US" sz="2800" dirty="0">
                <a:solidFill>
                  <a:srgbClr val="2B0A3D"/>
                </a:solidFill>
              </a:rPr>
              <a:t>AWS SNS – Job completion notification</a:t>
            </a:r>
          </a:p>
          <a:p>
            <a:pPr marL="342900" indent="-342900">
              <a:buFont typeface="Arial" panose="020B0604020202020204" pitchFamily="34" charset="0"/>
              <a:buChar char="•"/>
            </a:pPr>
            <a:r>
              <a:rPr lang="en-US" sz="2800" dirty="0">
                <a:solidFill>
                  <a:srgbClr val="2B0A3D"/>
                </a:solidFill>
              </a:rPr>
              <a:t>React – Responsive UI </a:t>
            </a:r>
          </a:p>
          <a:p>
            <a:pPr marL="342900" indent="-342900">
              <a:buFont typeface="Arial" panose="020B0604020202020204" pitchFamily="34" charset="0"/>
              <a:buChar char="•"/>
            </a:pPr>
            <a:endParaRPr lang="en-US" dirty="0">
              <a:solidFill>
                <a:srgbClr val="2B0A3D"/>
              </a:solidFill>
            </a:endParaRPr>
          </a:p>
          <a:p>
            <a:pPr marL="342900" indent="-342900">
              <a:buFont typeface="Arial" panose="020B0604020202020204" pitchFamily="34" charset="0"/>
              <a:buChar char="•"/>
            </a:pPr>
            <a:endParaRPr lang="en-US" sz="2000" dirty="0">
              <a:solidFill>
                <a:srgbClr val="2B0A3D"/>
              </a:solidFill>
            </a:endParaRPr>
          </a:p>
        </p:txBody>
      </p:sp>
      <p:sp>
        <p:nvSpPr>
          <p:cNvPr id="3" name="Title 2">
            <a:extLst>
              <a:ext uri="{FF2B5EF4-FFF2-40B4-BE49-F238E27FC236}">
                <a16:creationId xmlns:a16="http://schemas.microsoft.com/office/drawing/2014/main" id="{0DC4DCA7-98E9-4955-85A5-AF4A9C228593}"/>
              </a:ext>
            </a:extLst>
          </p:cNvPr>
          <p:cNvSpPr>
            <a:spLocks noGrp="1"/>
          </p:cNvSpPr>
          <p:nvPr>
            <p:ph type="title"/>
          </p:nvPr>
        </p:nvSpPr>
        <p:spPr/>
        <p:txBody>
          <a:bodyPr/>
          <a:lstStyle/>
          <a:p>
            <a:r>
              <a:rPr lang="en-US" sz="4000" dirty="0">
                <a:solidFill>
                  <a:srgbClr val="2B0A3D"/>
                </a:solidFill>
              </a:rPr>
              <a:t>Technology/Tool/stack</a:t>
            </a:r>
          </a:p>
        </p:txBody>
      </p:sp>
    </p:spTree>
    <p:extLst>
      <p:ext uri="{BB962C8B-B14F-4D97-AF65-F5344CB8AC3E}">
        <p14:creationId xmlns:p14="http://schemas.microsoft.com/office/powerpoint/2010/main" val="32930803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C4DCA7-98E9-4955-85A5-AF4A9C228593}"/>
              </a:ext>
            </a:extLst>
          </p:cNvPr>
          <p:cNvSpPr>
            <a:spLocks noGrp="1"/>
          </p:cNvSpPr>
          <p:nvPr>
            <p:ph type="title"/>
          </p:nvPr>
        </p:nvSpPr>
        <p:spPr/>
        <p:txBody>
          <a:bodyPr/>
          <a:lstStyle/>
          <a:p>
            <a:r>
              <a:rPr lang="en-US" sz="4000" dirty="0">
                <a:solidFill>
                  <a:srgbClr val="2B0A3D"/>
                </a:solidFill>
              </a:rPr>
              <a:t>Solution Architecture</a:t>
            </a:r>
          </a:p>
        </p:txBody>
      </p:sp>
      <p:pic>
        <p:nvPicPr>
          <p:cNvPr id="5" name="Picture 4">
            <a:extLst>
              <a:ext uri="{FF2B5EF4-FFF2-40B4-BE49-F238E27FC236}">
                <a16:creationId xmlns:a16="http://schemas.microsoft.com/office/drawing/2014/main" id="{05C0E6F4-E1A8-8B40-97D4-1E5475178B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336" y="1412776"/>
            <a:ext cx="12156195" cy="4752528"/>
          </a:xfrm>
          <a:prstGeom prst="rect">
            <a:avLst/>
          </a:prstGeom>
        </p:spPr>
      </p:pic>
    </p:spTree>
    <p:extLst>
      <p:ext uri="{BB962C8B-B14F-4D97-AF65-F5344CB8AC3E}">
        <p14:creationId xmlns:p14="http://schemas.microsoft.com/office/powerpoint/2010/main" val="2325269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14F937-ED13-41DD-B96D-5986F42A4A68}"/>
              </a:ext>
            </a:extLst>
          </p:cNvPr>
          <p:cNvSpPr>
            <a:spLocks noGrp="1"/>
          </p:cNvSpPr>
          <p:nvPr>
            <p:ph type="body" sz="quarter" idx="10"/>
          </p:nvPr>
        </p:nvSpPr>
        <p:spPr/>
        <p:txBody>
          <a:bodyPr/>
          <a:lstStyle/>
          <a:p>
            <a:r>
              <a:rPr lang="en-US" b="0" dirty="0"/>
              <a:t>Sample form</a:t>
            </a:r>
          </a:p>
          <a:p>
            <a:endParaRPr lang="en-US" b="0" dirty="0"/>
          </a:p>
        </p:txBody>
      </p:sp>
      <p:sp>
        <p:nvSpPr>
          <p:cNvPr id="3" name="Title 2">
            <a:extLst>
              <a:ext uri="{FF2B5EF4-FFF2-40B4-BE49-F238E27FC236}">
                <a16:creationId xmlns:a16="http://schemas.microsoft.com/office/drawing/2014/main" id="{0DC4DCA7-98E9-4955-85A5-AF4A9C228593}"/>
              </a:ext>
            </a:extLst>
          </p:cNvPr>
          <p:cNvSpPr>
            <a:spLocks noGrp="1"/>
          </p:cNvSpPr>
          <p:nvPr>
            <p:ph type="title"/>
          </p:nvPr>
        </p:nvSpPr>
        <p:spPr/>
        <p:txBody>
          <a:bodyPr/>
          <a:lstStyle/>
          <a:p>
            <a:r>
              <a:rPr lang="en-US" sz="3600" dirty="0">
                <a:solidFill>
                  <a:srgbClr val="2B0A3D"/>
                </a:solidFill>
              </a:rPr>
              <a:t>Prototype/MVP Demo Video/Screenshots</a:t>
            </a:r>
          </a:p>
        </p:txBody>
      </p:sp>
      <p:pic>
        <p:nvPicPr>
          <p:cNvPr id="4" name="Picture 3">
            <a:extLst>
              <a:ext uri="{FF2B5EF4-FFF2-40B4-BE49-F238E27FC236}">
                <a16:creationId xmlns:a16="http://schemas.microsoft.com/office/drawing/2014/main" id="{10086CF5-B201-0840-9D3C-703C322A9B85}"/>
              </a:ext>
            </a:extLst>
          </p:cNvPr>
          <p:cNvPicPr>
            <a:picLocks noChangeAspect="1"/>
          </p:cNvPicPr>
          <p:nvPr/>
        </p:nvPicPr>
        <p:blipFill>
          <a:blip r:embed="rId2"/>
          <a:stretch>
            <a:fillRect/>
          </a:stretch>
        </p:blipFill>
        <p:spPr>
          <a:xfrm>
            <a:off x="2063552" y="1218525"/>
            <a:ext cx="9747448" cy="5410200"/>
          </a:xfrm>
          <a:prstGeom prst="rect">
            <a:avLst/>
          </a:prstGeom>
        </p:spPr>
      </p:pic>
    </p:spTree>
    <p:extLst>
      <p:ext uri="{BB962C8B-B14F-4D97-AF65-F5344CB8AC3E}">
        <p14:creationId xmlns:p14="http://schemas.microsoft.com/office/powerpoint/2010/main" val="554408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14F937-ED13-41DD-B96D-5986F42A4A68}"/>
              </a:ext>
            </a:extLst>
          </p:cNvPr>
          <p:cNvSpPr>
            <a:spLocks noGrp="1"/>
          </p:cNvSpPr>
          <p:nvPr>
            <p:ph type="body" sz="quarter" idx="10"/>
          </p:nvPr>
        </p:nvSpPr>
        <p:spPr/>
        <p:txBody>
          <a:bodyPr/>
          <a:lstStyle/>
          <a:p>
            <a:r>
              <a:rPr lang="en-US" b="0" dirty="0"/>
              <a:t>Sample Filled </a:t>
            </a:r>
          </a:p>
          <a:p>
            <a:r>
              <a:rPr lang="en-US" b="0" dirty="0"/>
              <a:t>form</a:t>
            </a:r>
          </a:p>
          <a:p>
            <a:endParaRPr lang="en-US" b="0" dirty="0"/>
          </a:p>
        </p:txBody>
      </p:sp>
      <p:sp>
        <p:nvSpPr>
          <p:cNvPr id="3" name="Title 2">
            <a:extLst>
              <a:ext uri="{FF2B5EF4-FFF2-40B4-BE49-F238E27FC236}">
                <a16:creationId xmlns:a16="http://schemas.microsoft.com/office/drawing/2014/main" id="{0DC4DCA7-98E9-4955-85A5-AF4A9C228593}"/>
              </a:ext>
            </a:extLst>
          </p:cNvPr>
          <p:cNvSpPr>
            <a:spLocks noGrp="1"/>
          </p:cNvSpPr>
          <p:nvPr>
            <p:ph type="title"/>
          </p:nvPr>
        </p:nvSpPr>
        <p:spPr/>
        <p:txBody>
          <a:bodyPr/>
          <a:lstStyle/>
          <a:p>
            <a:r>
              <a:rPr lang="en-US" sz="3600" dirty="0">
                <a:solidFill>
                  <a:srgbClr val="2B0A3D"/>
                </a:solidFill>
              </a:rPr>
              <a:t>Prototype/MVP Demo Video/Screenshots</a:t>
            </a:r>
          </a:p>
        </p:txBody>
      </p:sp>
      <p:pic>
        <p:nvPicPr>
          <p:cNvPr id="6" name="Picture 5">
            <a:extLst>
              <a:ext uri="{FF2B5EF4-FFF2-40B4-BE49-F238E27FC236}">
                <a16:creationId xmlns:a16="http://schemas.microsoft.com/office/drawing/2014/main" id="{D2B96E02-CC33-3846-B6CD-D725C248E3AD}"/>
              </a:ext>
            </a:extLst>
          </p:cNvPr>
          <p:cNvPicPr>
            <a:picLocks noChangeAspect="1"/>
          </p:cNvPicPr>
          <p:nvPr/>
        </p:nvPicPr>
        <p:blipFill>
          <a:blip r:embed="rId2"/>
          <a:stretch>
            <a:fillRect/>
          </a:stretch>
        </p:blipFill>
        <p:spPr>
          <a:xfrm>
            <a:off x="2063552" y="1255192"/>
            <a:ext cx="9747448" cy="5589240"/>
          </a:xfrm>
          <a:prstGeom prst="rect">
            <a:avLst/>
          </a:prstGeom>
        </p:spPr>
      </p:pic>
    </p:spTree>
    <p:extLst>
      <p:ext uri="{BB962C8B-B14F-4D97-AF65-F5344CB8AC3E}">
        <p14:creationId xmlns:p14="http://schemas.microsoft.com/office/powerpoint/2010/main" val="32651914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9454D2C40C0914CA4493E40E7316B6B" ma:contentTypeVersion="12" ma:contentTypeDescription="Create a new document." ma:contentTypeScope="" ma:versionID="eca6e9b0863168a99ebceae0df2f77ac">
  <xsd:schema xmlns:xsd="http://www.w3.org/2001/XMLSchema" xmlns:xs="http://www.w3.org/2001/XMLSchema" xmlns:p="http://schemas.microsoft.com/office/2006/metadata/properties" xmlns:ns3="3198f01d-6c60-4648-9441-ae7a9021941b" xmlns:ns4="12f2e43d-36cf-4c6f-897f-7ce444ce20b2" targetNamespace="http://schemas.microsoft.com/office/2006/metadata/properties" ma:root="true" ma:fieldsID="58c824bfabcecebf344fbb4071ae16e6" ns3:_="" ns4:_="">
    <xsd:import namespace="3198f01d-6c60-4648-9441-ae7a9021941b"/>
    <xsd:import namespace="12f2e43d-36cf-4c6f-897f-7ce444ce20b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98f01d-6c60-4648-9441-ae7a902194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f2e43d-36cf-4c6f-897f-7ce444ce20b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F5976FFE-AE95-4838-9C4F-0C90A7B899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98f01d-6c60-4648-9441-ae7a9021941b"/>
    <ds:schemaRef ds:uri="12f2e43d-36cf-4c6f-897f-7ce444ce20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schemas.microsoft.com/office/2006/documentManagement/types"/>
    <ds:schemaRef ds:uri="http://purl.org/dc/dcmitype/"/>
    <ds:schemaRef ds:uri="12f2e43d-36cf-4c6f-897f-7ce444ce20b2"/>
    <ds:schemaRef ds:uri="http://purl.org/dc/elements/1.1/"/>
    <ds:schemaRef ds:uri="http://schemas.microsoft.com/office/2006/metadata/properties"/>
    <ds:schemaRef ds:uri="http://schemas.openxmlformats.org/package/2006/metadata/core-properties"/>
    <ds:schemaRef ds:uri="http://purl.org/dc/terms/"/>
    <ds:schemaRef ds:uri="3198f01d-6c60-4648-9441-ae7a9021941b"/>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apgemini - Social Media Careers Page</Template>
  <TotalTime>1367</TotalTime>
  <Words>344</Words>
  <Application>Microsoft Macintosh PowerPoint</Application>
  <PresentationFormat>Widescreen</PresentationFormat>
  <Paragraphs>56</Paragraphs>
  <Slides>16</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5" baseType="lpstr">
      <vt:lpstr>Ubuntu Medium</vt:lpstr>
      <vt:lpstr>Arial</vt:lpstr>
      <vt:lpstr>Wingdings</vt:lpstr>
      <vt:lpstr>Verdana</vt:lpstr>
      <vt:lpstr>Ubuntu Light</vt:lpstr>
      <vt:lpstr>Ubuntu</vt:lpstr>
      <vt:lpstr>Capgemini Master 2021</vt:lpstr>
      <vt:lpstr>Cover options_Section</vt:lpstr>
      <vt:lpstr>think-cell Slide</vt:lpstr>
      <vt:lpstr>PowerPoint Presentation</vt:lpstr>
      <vt:lpstr>PowerPoint Presentation</vt:lpstr>
      <vt:lpstr>THE SOLUTION</vt:lpstr>
      <vt:lpstr>Brief Synopsis of the Challenge</vt:lpstr>
      <vt:lpstr>Problem Being Addressed and Solved</vt:lpstr>
      <vt:lpstr>Technology/Tool/stack</vt:lpstr>
      <vt:lpstr>Solution Architecture</vt:lpstr>
      <vt:lpstr>Prototype/MVP Demo Video/Screenshots</vt:lpstr>
      <vt:lpstr>Prototype/MVP Demo Video/Screenshots</vt:lpstr>
      <vt:lpstr>Prototype/MVP Demo Video/Screenshots</vt:lpstr>
      <vt:lpstr>Prototype/MVP Demo Video/Screenshots</vt:lpstr>
      <vt:lpstr>Challenges Faced</vt:lpstr>
      <vt:lpstr>Way Forward with the solution</vt:lpstr>
      <vt:lpstr>Future Enhancements</vt:lpstr>
      <vt:lpstr>PowerPoint Presentation</vt:lpstr>
      <vt:lpstr>PowerPoint Presentation</vt:lpstr>
    </vt:vector>
  </TitlesOfParts>
  <Company>Capgemini</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cial media careers page</dc:title>
  <dc:subject>Capgemini template</dc:subject>
  <dc:creator>Souvik Palui | Team Ethinos</dc:creator>
  <cp:lastModifiedBy>Vishal Kumar Saw</cp:lastModifiedBy>
  <cp:revision>125</cp:revision>
  <dcterms:created xsi:type="dcterms:W3CDTF">2021-06-16T09:38:34Z</dcterms:created>
  <dcterms:modified xsi:type="dcterms:W3CDTF">2021-09-04T08:46:33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454D2C40C0914CA4493E40E7316B6B</vt:lpwstr>
  </property>
</Properties>
</file>